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5.xml" ContentType="application/vnd.openxmlformats-officedocument.theme+xml"/>
  <Override PartName="/ppt/tags/tag9.xml" ContentType="application/vnd.openxmlformats-officedocument.presentationml.tags+xml"/>
  <Override PartName="/ppt/theme/theme6.xml" ContentType="application/vnd.openxmlformats-officedocument.theme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2.xml" ContentType="application/vnd.openxmlformats-officedocument.presentationml.notesSlide+xml"/>
  <Override PartName="/ppt/tags/tag13.xml" ContentType="application/vnd.openxmlformats-officedocument.presentationml.tags+xml"/>
  <Override PartName="/ppt/notesSlides/notesSlide3.xml" ContentType="application/vnd.openxmlformats-officedocument.presentationml.notesSlide+xml"/>
  <Override PartName="/ppt/tags/tag14.xml" ContentType="application/vnd.openxmlformats-officedocument.presentationml.tags+xml"/>
  <Override PartName="/ppt/notesSlides/notesSlide4.xml" ContentType="application/vnd.openxmlformats-officedocument.presentationml.notesSlide+xml"/>
  <Override PartName="/ppt/tags/tag15.xml" ContentType="application/vnd.openxmlformats-officedocument.presentationml.tags+xml"/>
  <Override PartName="/ppt/notesSlides/notesSlide5.xml" ContentType="application/vnd.openxmlformats-officedocument.presentationml.notesSlide+xml"/>
  <Override PartName="/ppt/tags/tag16.xml" ContentType="application/vnd.openxmlformats-officedocument.presentationml.tags+xml"/>
  <Override PartName="/ppt/notesSlides/notesSlide6.xml" ContentType="application/vnd.openxmlformats-officedocument.presentationml.notesSlide+xml"/>
  <Override PartName="/ppt/tags/tag17.xml" ContentType="application/vnd.openxmlformats-officedocument.presentationml.tags+xml"/>
  <Override PartName="/ppt/notesSlides/notesSlide7.xml" ContentType="application/vnd.openxmlformats-officedocument.presentationml.notesSlide+xml"/>
  <Override PartName="/ppt/tags/tag18.xml" ContentType="application/vnd.openxmlformats-officedocument.presentationml.tags+xml"/>
  <Override PartName="/ppt/notesSlides/notesSlide8.xml" ContentType="application/vnd.openxmlformats-officedocument.presentationml.notesSlide+xml"/>
  <Override PartName="/ppt/tags/tag19.xml" ContentType="application/vnd.openxmlformats-officedocument.presentationml.tags+xml"/>
  <Override PartName="/ppt/notesSlides/notesSlide9.xml" ContentType="application/vnd.openxmlformats-officedocument.presentationml.notesSlide+xml"/>
  <Override PartName="/ppt/tags/tag20.xml" ContentType="application/vnd.openxmlformats-officedocument.presentationml.tags+xml"/>
  <Override PartName="/ppt/notesSlides/notesSlide10.xml" ContentType="application/vnd.openxmlformats-officedocument.presentationml.notesSlide+xml"/>
  <Override PartName="/ppt/tags/tag21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22.xml" ContentType="application/vnd.openxmlformats-officedocument.presentationml.tags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23.xml" ContentType="application/vnd.openxmlformats-officedocument.presentationml.tags+xml"/>
  <Override PartName="/ppt/notesSlides/notesSlide18.xml" ContentType="application/vnd.openxmlformats-officedocument.presentationml.notesSlide+xml"/>
  <Override PartName="/ppt/tags/tag24.xml" ContentType="application/vnd.openxmlformats-officedocument.presentationml.tags+xml"/>
  <Override PartName="/ppt/notesSlides/notesSlide19.xml" ContentType="application/vnd.openxmlformats-officedocument.presentationml.notesSlide+xml"/>
  <Override PartName="/ppt/tags/tag25.xml" ContentType="application/vnd.openxmlformats-officedocument.presentationml.tags+xml"/>
  <Override PartName="/ppt/notesSlides/notesSlide20.xml" ContentType="application/vnd.openxmlformats-officedocument.presentationml.notesSlide+xml"/>
  <Override PartName="/ppt/tags/tag26.xml" ContentType="application/vnd.openxmlformats-officedocument.presentationml.tags+xml"/>
  <Override PartName="/ppt/notesSlides/notesSlide21.xml" ContentType="application/vnd.openxmlformats-officedocument.presentationml.notesSlide+xml"/>
  <Override PartName="/ppt/tags/tag27.xml" ContentType="application/vnd.openxmlformats-officedocument.presentationml.tags+xml"/>
  <Override PartName="/ppt/notesSlides/notesSlide22.xml" ContentType="application/vnd.openxmlformats-officedocument.presentationml.notesSlide+xml"/>
  <Override PartName="/ppt/tags/tag28.xml" ContentType="application/vnd.openxmlformats-officedocument.presentationml.tags+xml"/>
  <Override PartName="/ppt/notesSlides/notesSlide23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29.xml" ContentType="application/vnd.openxmlformats-officedocument.presentationml.tags+xml"/>
  <Override PartName="/ppt/notesSlides/notesSlide24.xml" ContentType="application/vnd.openxmlformats-officedocument.presentationml.notesSlide+xml"/>
  <Override PartName="/ppt/tags/tag30.xml" ContentType="application/vnd.openxmlformats-officedocument.presentationml.tags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tags/tag31.xml" ContentType="application/vnd.openxmlformats-officedocument.presentationml.tags+xml"/>
  <Override PartName="/ppt/notesSlides/notesSlide27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28.xml" ContentType="application/vnd.openxmlformats-officedocument.presentationml.notesSlide+xml"/>
  <Override PartName="/ppt/tags/tag34.xml" ContentType="application/vnd.openxmlformats-officedocument.presentationml.tags+xml"/>
  <Override PartName="/ppt/notesSlides/notesSlide29.xml" ContentType="application/vnd.openxmlformats-officedocument.presentationml.notesSlide+xml"/>
  <Override PartName="/ppt/tags/tag35.xml" ContentType="application/vnd.openxmlformats-officedocument.presentationml.tags+xml"/>
  <Override PartName="/ppt/notesSlides/notesSlide30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8"/>
    <p:sldMasterId id="2147483674" r:id="rId9"/>
    <p:sldMasterId id="2147483686" r:id="rId10"/>
    <p:sldMasterId id="2147483698" r:id="rId11"/>
    <p:sldMasterId id="2147483711" r:id="rId12"/>
  </p:sldMasterIdLst>
  <p:notesMasterIdLst>
    <p:notesMasterId r:id="rId57"/>
  </p:notesMasterIdLst>
  <p:sldIdLst>
    <p:sldId id="256" r:id="rId13"/>
    <p:sldId id="3536" r:id="rId14"/>
    <p:sldId id="3537" r:id="rId15"/>
    <p:sldId id="2147309281" r:id="rId16"/>
    <p:sldId id="2147309173" r:id="rId17"/>
    <p:sldId id="2147309280" r:id="rId18"/>
    <p:sldId id="2147309287" r:id="rId19"/>
    <p:sldId id="2147309294" r:id="rId20"/>
    <p:sldId id="2147309282" r:id="rId21"/>
    <p:sldId id="2147309288" r:id="rId22"/>
    <p:sldId id="2147309295" r:id="rId23"/>
    <p:sldId id="264" r:id="rId24"/>
    <p:sldId id="2147309196" r:id="rId25"/>
    <p:sldId id="498" r:id="rId26"/>
    <p:sldId id="536" r:id="rId27"/>
    <p:sldId id="265" r:id="rId28"/>
    <p:sldId id="266" r:id="rId29"/>
    <p:sldId id="268" r:id="rId30"/>
    <p:sldId id="2147309293" r:id="rId31"/>
    <p:sldId id="2147309300" r:id="rId32"/>
    <p:sldId id="354" r:id="rId33"/>
    <p:sldId id="257" r:id="rId34"/>
    <p:sldId id="2147309290" r:id="rId35"/>
    <p:sldId id="258" r:id="rId36"/>
    <p:sldId id="352" r:id="rId37"/>
    <p:sldId id="2147309291" r:id="rId38"/>
    <p:sldId id="267" r:id="rId39"/>
    <p:sldId id="2147309292" r:id="rId40"/>
    <p:sldId id="355" r:id="rId41"/>
    <p:sldId id="2147309299" r:id="rId42"/>
    <p:sldId id="366" r:id="rId43"/>
    <p:sldId id="371" r:id="rId44"/>
    <p:sldId id="2147309298" r:id="rId45"/>
    <p:sldId id="2147309285" r:id="rId46"/>
    <p:sldId id="2147309284" r:id="rId47"/>
    <p:sldId id="2147309297" r:id="rId48"/>
    <p:sldId id="372" r:id="rId49"/>
    <p:sldId id="375" r:id="rId50"/>
    <p:sldId id="2147309296" r:id="rId51"/>
    <p:sldId id="374" r:id="rId52"/>
    <p:sldId id="2147309179" r:id="rId53"/>
    <p:sldId id="2147309177" r:id="rId54"/>
    <p:sldId id="667" r:id="rId55"/>
    <p:sldId id="370" r:id="rId56"/>
  </p:sldIdLst>
  <p:sldSz cx="9144000" cy="5143500" type="screen16x9"/>
  <p:notesSz cx="6858000" cy="9144000"/>
  <p:custDataLst>
    <p:tags r:id="rId58"/>
  </p:custDataLst>
  <p:defaultTextStyle>
    <a:defPPr>
      <a:defRPr lang="nb-NO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E60C4A53-7441-406F-BA9C-A7A7CBF0F43F}">
          <p14:sldIdLst>
            <p14:sldId id="256"/>
            <p14:sldId id="3536"/>
            <p14:sldId id="3537"/>
          </p14:sldIdLst>
        </p14:section>
        <p14:section name="Oppsummering fra E-læring" id="{5AA63AD1-4CD3-4BBE-A43C-AE68C074033B}">
          <p14:sldIdLst>
            <p14:sldId id="2147309281"/>
            <p14:sldId id="2147309173"/>
            <p14:sldId id="2147309280"/>
            <p14:sldId id="2147309287"/>
          </p14:sldIdLst>
        </p14:section>
        <p14:section name="Hovedendringer" id="{647DD0DF-BFE3-45C0-A3BE-D7A8F737A85D}">
          <p14:sldIdLst>
            <p14:sldId id="2147309294"/>
            <p14:sldId id="2147309282"/>
            <p14:sldId id="2147309288"/>
          </p14:sldIdLst>
        </p14:section>
        <p14:section name="Om ny økonomimodell" id="{CD0F8225-DE30-4470-BF18-AF7B17A311C3}">
          <p14:sldIdLst>
            <p14:sldId id="2147309295"/>
            <p14:sldId id="264"/>
            <p14:sldId id="2147309196"/>
            <p14:sldId id="498"/>
            <p14:sldId id="536"/>
            <p14:sldId id="265"/>
            <p14:sldId id="266"/>
            <p14:sldId id="268"/>
            <p14:sldId id="2147309293"/>
          </p14:sldIdLst>
        </p14:section>
        <p14:section name="Mer om mva" id="{45C52DBD-AA05-485F-8715-2324D128F83D}">
          <p14:sldIdLst>
            <p14:sldId id="2147309300"/>
            <p14:sldId id="354"/>
            <p14:sldId id="257"/>
            <p14:sldId id="2147309290"/>
            <p14:sldId id="258"/>
            <p14:sldId id="352"/>
            <p14:sldId id="2147309291"/>
            <p14:sldId id="267"/>
            <p14:sldId id="2147309292"/>
            <p14:sldId id="355"/>
          </p14:sldIdLst>
        </p14:section>
        <p14:section name="Nye begreper" id="{5BAEE10F-10B2-48FA-86CB-CA001A24E03A}">
          <p14:sldIdLst>
            <p14:sldId id="2147309299"/>
            <p14:sldId id="366"/>
            <p14:sldId id="371"/>
          </p14:sldIdLst>
        </p14:section>
        <p14:section name="Kort demo" id="{4FE12F6D-3905-4B62-B46D-C482B5B2D15C}">
          <p14:sldIdLst>
            <p14:sldId id="2147309298"/>
            <p14:sldId id="2147309285"/>
            <p14:sldId id="2147309284"/>
          </p14:sldIdLst>
        </p14:section>
        <p14:section name="Hva skjer videre" id="{86DB92A1-4614-491C-A7B5-AC59F68E5BA6}">
          <p14:sldIdLst>
            <p14:sldId id="2147309297"/>
            <p14:sldId id="372"/>
            <p14:sldId id="375"/>
          </p14:sldIdLst>
        </p14:section>
        <p14:section name="Spørsmål og svar" id="{3D2BF11A-BD61-4245-B0CC-F6B1CE4645A8}">
          <p14:sldIdLst>
            <p14:sldId id="2147309296"/>
            <p14:sldId id="374"/>
            <p14:sldId id="2147309179"/>
            <p14:sldId id="2147309177"/>
            <p14:sldId id="667"/>
            <p14:sldId id="37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9FC4E52-EE62-A9E2-A511-E4ECB00DCE4C}" name="Kristin Kårøy Overvik" initials="KO" userId="S::kristo@ntnu.no::9f32c53a-86e1-4034-b7b9-1fcc4812f6dd" providerId="AD"/>
  <p188:author id="{023C9081-BD43-83DB-54A6-F1EB40916C41}" name="Maren Ellingsberg" initials="ME" userId="S::ellingsb@ntnu.no::2302c544-4afb-4231-9f9f-1b21d535bee9" providerId="AD"/>
  <p188:author id="{BD64E2F5-DE5F-9D2F-522B-67584DCD03ED}" name="Christina Horvei" initials="CH" userId="S::chrihorv@ntnu.no::a883ca73-a3a6-4204-991d-57d11551949a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ie, Harald" initials="LH" lastIdx="3" clrIdx="0">
    <p:extLst>
      <p:ext uri="{19B8F6BF-5375-455C-9EA6-DF929625EA0E}">
        <p15:presenceInfo xmlns:p15="http://schemas.microsoft.com/office/powerpoint/2012/main" userId="S::hlie@deloitte.no::6eaf4526-8e81-4b3d-ba16-767687c218e8" providerId="AD"/>
      </p:ext>
    </p:extLst>
  </p:cmAuthor>
  <p:cmAuthor id="2" name="Tor Prestegard" initials="TP" lastIdx="1" clrIdx="1">
    <p:extLst>
      <p:ext uri="{19B8F6BF-5375-455C-9EA6-DF929625EA0E}">
        <p15:presenceInfo xmlns:p15="http://schemas.microsoft.com/office/powerpoint/2012/main" userId="S::torpr@ntnu.no::70b1b567-2bf3-47e4-af3f-844159642694" providerId="AD"/>
      </p:ext>
    </p:extLst>
  </p:cmAuthor>
  <p:cmAuthor id="3" name="Lie, Harald" initials="LH [2]" lastIdx="1" clrIdx="2">
    <p:extLst>
      <p:ext uri="{19B8F6BF-5375-455C-9EA6-DF929625EA0E}">
        <p15:presenceInfo xmlns:p15="http://schemas.microsoft.com/office/powerpoint/2012/main" userId="S::hlie_deloitte.no#ext#@studntnu.onmicrosoft.com::4515d6bf-9a89-4ec2-90d8-a40f6b68936c" providerId="AD"/>
      </p:ext>
    </p:extLst>
  </p:cmAuthor>
  <p:cmAuthor id="4" name="Gry-Lene Johansen" initials="GJ" lastIdx="5" clrIdx="3">
    <p:extLst>
      <p:ext uri="{19B8F6BF-5375-455C-9EA6-DF929625EA0E}">
        <p15:presenceInfo xmlns:p15="http://schemas.microsoft.com/office/powerpoint/2012/main" userId="S::grylj@ntnu.no::acbf094c-51cb-4117-b367-2a5f9274475b" providerId="AD"/>
      </p:ext>
    </p:extLst>
  </p:cmAuthor>
  <p:cmAuthor id="5" name="Horvei, Christina" initials="HC" lastIdx="10" clrIdx="4">
    <p:extLst>
      <p:ext uri="{19B8F6BF-5375-455C-9EA6-DF929625EA0E}">
        <p15:presenceInfo xmlns:p15="http://schemas.microsoft.com/office/powerpoint/2012/main" userId="S::chorvei@deloitte.no::cd24bc57-60b2-4e37-aa14-cf0aa018956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2756D"/>
    <a:srgbClr val="014694"/>
    <a:srgbClr val="0D3475"/>
    <a:srgbClr val="8D9C1B"/>
    <a:srgbClr val="C7B98A"/>
    <a:srgbClr val="BBAC7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959754A-3297-84BE-F7F0-676B7B2C86F8}" v="24" dt="2022-11-21T10:29:57.269"/>
    <p1510:client id="{15759582-23B1-483E-9AD0-D2E8E17274C8}" v="31" dt="2022-11-21T13:06:10.026"/>
    <p1510:client id="{508EFE1D-8202-4494-A31A-071490CE4E8A}" v="724" vWet="726" dt="2022-11-21T11:06:49.739"/>
    <p1510:client id="{7CFB3360-F6AF-47A8-8883-EDB20EA9F590}" v="13449" dt="2022-11-21T12:35:19.060"/>
    <p1510:client id="{83FA0D67-D21C-4434-B4D1-B8372B245330}" v="520" dt="2022-11-21T07:58:01.224"/>
    <p1510:client id="{8E1DEEB2-AF56-1A9C-09A6-EFD751B0FB68}" v="61" dt="2022-11-21T09:14:36.207"/>
    <p1510:client id="{C414FC38-D447-455C-9FA9-912A988212A8}" v="157" vWet="159" dt="2022-11-21T10:19:56.254"/>
    <p1510:client id="{D155E4A9-01B7-B4F5-D834-06FFE5AECCAE}" v="2" dt="2022-11-21T07:20:05.516"/>
    <p1510:client id="{F53CA7F1-095F-451A-9C00-15AEBF848AD3}" v="147" vWet="149" dt="2022-11-21T08:08:45.64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230" d="100"/>
          <a:sy n="230" d="100"/>
        </p:scale>
        <p:origin x="3552" y="180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26" Type="http://schemas.openxmlformats.org/officeDocument/2006/relationships/slide" Target="slides/slide14.xml"/><Relationship Id="rId39" Type="http://schemas.openxmlformats.org/officeDocument/2006/relationships/slide" Target="slides/slide27.xml"/><Relationship Id="rId21" Type="http://schemas.openxmlformats.org/officeDocument/2006/relationships/slide" Target="slides/slide9.xml"/><Relationship Id="rId34" Type="http://schemas.openxmlformats.org/officeDocument/2006/relationships/slide" Target="slides/slide22.xml"/><Relationship Id="rId42" Type="http://schemas.openxmlformats.org/officeDocument/2006/relationships/slide" Target="slides/slide30.xml"/><Relationship Id="rId47" Type="http://schemas.openxmlformats.org/officeDocument/2006/relationships/slide" Target="slides/slide35.xml"/><Relationship Id="rId50" Type="http://schemas.openxmlformats.org/officeDocument/2006/relationships/slide" Target="slides/slide38.xml"/><Relationship Id="rId55" Type="http://schemas.openxmlformats.org/officeDocument/2006/relationships/slide" Target="slides/slide43.xml"/><Relationship Id="rId63" Type="http://schemas.openxmlformats.org/officeDocument/2006/relationships/tableStyles" Target="tableStyles.xml"/><Relationship Id="rId7" Type="http://schemas.openxmlformats.org/officeDocument/2006/relationships/customXml" Target="../customXml/item7.xml"/><Relationship Id="rId2" Type="http://schemas.openxmlformats.org/officeDocument/2006/relationships/customXml" Target="../customXml/item2.xml"/><Relationship Id="rId16" Type="http://schemas.openxmlformats.org/officeDocument/2006/relationships/slide" Target="slides/slide4.xml"/><Relationship Id="rId20" Type="http://schemas.openxmlformats.org/officeDocument/2006/relationships/slide" Target="slides/slide8.xml"/><Relationship Id="rId29" Type="http://schemas.openxmlformats.org/officeDocument/2006/relationships/slide" Target="slides/slide17.xml"/><Relationship Id="rId41" Type="http://schemas.openxmlformats.org/officeDocument/2006/relationships/slide" Target="slides/slide29.xml"/><Relationship Id="rId54" Type="http://schemas.openxmlformats.org/officeDocument/2006/relationships/slide" Target="slides/slide42.xml"/><Relationship Id="rId62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Master" Target="slideMasters/slideMaster4.xml"/><Relationship Id="rId24" Type="http://schemas.openxmlformats.org/officeDocument/2006/relationships/slide" Target="slides/slide12.xml"/><Relationship Id="rId32" Type="http://schemas.openxmlformats.org/officeDocument/2006/relationships/slide" Target="slides/slide20.xml"/><Relationship Id="rId37" Type="http://schemas.openxmlformats.org/officeDocument/2006/relationships/slide" Target="slides/slide25.xml"/><Relationship Id="rId40" Type="http://schemas.openxmlformats.org/officeDocument/2006/relationships/slide" Target="slides/slide28.xml"/><Relationship Id="rId45" Type="http://schemas.openxmlformats.org/officeDocument/2006/relationships/slide" Target="slides/slide33.xml"/><Relationship Id="rId53" Type="http://schemas.openxmlformats.org/officeDocument/2006/relationships/slide" Target="slides/slide41.xml"/><Relationship Id="rId58" Type="http://schemas.openxmlformats.org/officeDocument/2006/relationships/tags" Target="tags/tag1.xml"/><Relationship Id="rId5" Type="http://schemas.openxmlformats.org/officeDocument/2006/relationships/customXml" Target="../customXml/item5.xml"/><Relationship Id="rId15" Type="http://schemas.openxmlformats.org/officeDocument/2006/relationships/slide" Target="slides/slide3.xml"/><Relationship Id="rId23" Type="http://schemas.openxmlformats.org/officeDocument/2006/relationships/slide" Target="slides/slide11.xml"/><Relationship Id="rId28" Type="http://schemas.openxmlformats.org/officeDocument/2006/relationships/slide" Target="slides/slide16.xml"/><Relationship Id="rId36" Type="http://schemas.openxmlformats.org/officeDocument/2006/relationships/slide" Target="slides/slide24.xml"/><Relationship Id="rId49" Type="http://schemas.openxmlformats.org/officeDocument/2006/relationships/slide" Target="slides/slide37.xml"/><Relationship Id="rId57" Type="http://schemas.openxmlformats.org/officeDocument/2006/relationships/notesMaster" Target="notesMasters/notesMaster1.xml"/><Relationship Id="rId61" Type="http://schemas.openxmlformats.org/officeDocument/2006/relationships/viewProps" Target="viewProps.xml"/><Relationship Id="rId10" Type="http://schemas.openxmlformats.org/officeDocument/2006/relationships/slideMaster" Target="slideMasters/slideMaster3.xml"/><Relationship Id="rId19" Type="http://schemas.openxmlformats.org/officeDocument/2006/relationships/slide" Target="slides/slide7.xml"/><Relationship Id="rId31" Type="http://schemas.openxmlformats.org/officeDocument/2006/relationships/slide" Target="slides/slide19.xml"/><Relationship Id="rId44" Type="http://schemas.openxmlformats.org/officeDocument/2006/relationships/slide" Target="slides/slide32.xml"/><Relationship Id="rId52" Type="http://schemas.openxmlformats.org/officeDocument/2006/relationships/slide" Target="slides/slide40.xml"/><Relationship Id="rId60" Type="http://schemas.openxmlformats.org/officeDocument/2006/relationships/presProps" Target="presProps.xml"/><Relationship Id="rId65" Type="http://schemas.microsoft.com/office/2018/10/relationships/authors" Target="authors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2.xml"/><Relationship Id="rId14" Type="http://schemas.openxmlformats.org/officeDocument/2006/relationships/slide" Target="slides/slide2.xml"/><Relationship Id="rId22" Type="http://schemas.openxmlformats.org/officeDocument/2006/relationships/slide" Target="slides/slide10.xml"/><Relationship Id="rId27" Type="http://schemas.openxmlformats.org/officeDocument/2006/relationships/slide" Target="slides/slide15.xml"/><Relationship Id="rId30" Type="http://schemas.openxmlformats.org/officeDocument/2006/relationships/slide" Target="slides/slide18.xml"/><Relationship Id="rId35" Type="http://schemas.openxmlformats.org/officeDocument/2006/relationships/slide" Target="slides/slide23.xml"/><Relationship Id="rId43" Type="http://schemas.openxmlformats.org/officeDocument/2006/relationships/slide" Target="slides/slide31.xml"/><Relationship Id="rId48" Type="http://schemas.openxmlformats.org/officeDocument/2006/relationships/slide" Target="slides/slide36.xml"/><Relationship Id="rId56" Type="http://schemas.openxmlformats.org/officeDocument/2006/relationships/slide" Target="slides/slide44.xml"/><Relationship Id="rId64" Type="http://schemas.microsoft.com/office/2015/10/relationships/revisionInfo" Target="revisionInfo.xml"/><Relationship Id="rId8" Type="http://schemas.openxmlformats.org/officeDocument/2006/relationships/slideMaster" Target="slideMasters/slideMaster1.xml"/><Relationship Id="rId51" Type="http://schemas.openxmlformats.org/officeDocument/2006/relationships/slide" Target="slides/slide39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5.xml"/><Relationship Id="rId17" Type="http://schemas.openxmlformats.org/officeDocument/2006/relationships/slide" Target="slides/slide5.xml"/><Relationship Id="rId25" Type="http://schemas.openxmlformats.org/officeDocument/2006/relationships/slide" Target="slides/slide13.xml"/><Relationship Id="rId33" Type="http://schemas.openxmlformats.org/officeDocument/2006/relationships/slide" Target="slides/slide21.xml"/><Relationship Id="rId38" Type="http://schemas.openxmlformats.org/officeDocument/2006/relationships/slide" Target="slides/slide26.xml"/><Relationship Id="rId46" Type="http://schemas.openxmlformats.org/officeDocument/2006/relationships/slide" Target="slides/slide34.xml"/><Relationship Id="rId59" Type="http://schemas.openxmlformats.org/officeDocument/2006/relationships/commentAuthors" Target="commentAuthor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B04D0A6-1A3B-42FB-A69E-8963AE4F499F}" type="doc">
      <dgm:prSet loTypeId="urn:microsoft.com/office/officeart/2005/8/layout/hierarchy2" loCatId="hierarchy" qsTypeId="urn:microsoft.com/office/officeart/2005/8/quickstyle/simple1" qsCatId="simple" csTypeId="urn:microsoft.com/office/officeart/2005/8/colors/accent0_1" csCatId="mainScheme" phldr="1"/>
      <dgm:spPr/>
      <dgm:t>
        <a:bodyPr/>
        <a:lstStyle/>
        <a:p>
          <a:endParaRPr lang="en-US"/>
        </a:p>
      </dgm:t>
    </dgm:pt>
    <dgm:pt modelId="{A0D536EA-FCA4-4D02-B69F-F5A7FC700069}">
      <dgm:prSet phldrT="[Text]"/>
      <dgm:spPr>
        <a:xfrm>
          <a:off x="3610" y="2587889"/>
          <a:ext cx="1700482" cy="850241"/>
        </a:xfrm>
        <a:prstGeom prst="roundRect">
          <a:avLst>
            <a:gd name="adj" fmla="val 10000"/>
          </a:avLst>
        </a:prstGeom>
        <a:solidFill>
          <a:srgbClr val="E7E6E6"/>
        </a:solidFill>
        <a:ln w="127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Norge</a:t>
          </a:r>
        </a:p>
      </dgm:t>
    </dgm:pt>
    <dgm:pt modelId="{37159368-7558-4D0F-A132-905783D58D12}" type="parTrans" cxnId="{44712C33-E542-41E8-9847-0704425EEFC5}">
      <dgm:prSet/>
      <dgm:spPr/>
      <dgm:t>
        <a:bodyPr/>
        <a:lstStyle/>
        <a:p>
          <a:endParaRPr lang="en-US"/>
        </a:p>
      </dgm:t>
    </dgm:pt>
    <dgm:pt modelId="{649AB15E-AD08-47BD-9ECA-D5419AA8F8E7}" type="sibTrans" cxnId="{44712C33-E542-41E8-9847-0704425EEFC5}">
      <dgm:prSet/>
      <dgm:spPr/>
      <dgm:t>
        <a:bodyPr/>
        <a:lstStyle/>
        <a:p>
          <a:endParaRPr lang="en-US"/>
        </a:p>
      </dgm:t>
    </dgm:pt>
    <dgm:pt modelId="{E527F988-260F-4D3E-9B7D-99895090B59C}">
      <dgm:prSet phldrT="[Text]"/>
      <dgm:spPr>
        <a:xfrm>
          <a:off x="4772648" y="485617"/>
          <a:ext cx="1700482" cy="850241"/>
        </a:xfrm>
        <a:solidFill>
          <a:srgbClr val="E6ECFF"/>
        </a:solidFill>
        <a:ln w="127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err="1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Uten</a:t>
          </a:r>
          <a:r>
            <a:rPr lang="en-US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 </a:t>
          </a:r>
          <a:r>
            <a:rPr lang="en-US" err="1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fradrag</a:t>
          </a:r>
          <a:endParaRPr lang="en-US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/>
            <a:ea typeface="+mn-ea"/>
            <a:cs typeface="+mn-cs"/>
          </a:endParaRPr>
        </a:p>
      </dgm:t>
    </dgm:pt>
    <dgm:pt modelId="{BDE809B0-70AC-4BFC-8CAB-586FB741C3F8}" type="parTrans" cxnId="{E8D366CC-5C2A-463A-9041-841E10E5F4A8}">
      <dgm:prSet/>
      <dgm:spPr>
        <a:xfrm rot="18267754">
          <a:off x="3820899" y="1397416"/>
          <a:ext cx="1215618" cy="28916"/>
        </a:xfrm>
        <a:noFill/>
        <a:ln w="127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endParaRPr lang="en-US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/>
            <a:ea typeface="+mn-ea"/>
            <a:cs typeface="+mn-cs"/>
          </a:endParaRPr>
        </a:p>
      </dgm:t>
    </dgm:pt>
    <dgm:pt modelId="{E3502A46-028E-4A0D-BC02-7C21BC2F86F5}" type="sibTrans" cxnId="{E8D366CC-5C2A-463A-9041-841E10E5F4A8}">
      <dgm:prSet/>
      <dgm:spPr/>
      <dgm:t>
        <a:bodyPr/>
        <a:lstStyle/>
        <a:p>
          <a:endParaRPr lang="en-US"/>
        </a:p>
      </dgm:t>
    </dgm:pt>
    <dgm:pt modelId="{B2FF7F00-EA45-4EE6-89D7-380CF5E6B833}">
      <dgm:prSet phldrT="[Text]"/>
      <dgm:spPr>
        <a:xfrm>
          <a:off x="4772648" y="1691021"/>
          <a:ext cx="1700482" cy="850241"/>
        </a:xfrm>
        <a:solidFill>
          <a:srgbClr val="86A4F7">
            <a:lumMod val="20000"/>
            <a:lumOff val="80000"/>
          </a:srgbClr>
        </a:solidFill>
        <a:ln w="127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Med </a:t>
          </a:r>
          <a:r>
            <a:rPr lang="en-US" err="1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fradrag</a:t>
          </a:r>
          <a:endParaRPr lang="en-US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/>
            <a:ea typeface="+mn-ea"/>
            <a:cs typeface="+mn-cs"/>
          </a:endParaRPr>
        </a:p>
      </dgm:t>
    </dgm:pt>
    <dgm:pt modelId="{508F0CC1-6B0D-475C-8038-BE5018FD719C}" type="parTrans" cxnId="{593714B7-FA69-4513-B4C2-FA54B3D93BDA}">
      <dgm:prSet custT="1"/>
      <dgm:spPr>
        <a:noFill/>
        <a:ln w="12700" cap="flat" cmpd="sng" algn="ctr">
          <a:solidFill>
            <a:sysClr val="windowText" lastClr="000000">
              <a:shade val="80000"/>
              <a:hueOff val="0"/>
              <a:satOff val="0"/>
              <a:lumOff val="0"/>
            </a:sysClr>
          </a:solidFill>
          <a:prstDash val="solid"/>
          <a:round/>
        </a:ln>
        <a:effectLst/>
      </dgm:spPr>
      <dgm:t>
        <a:bodyPr spcFirstLastPara="0" vert="horz" wrap="square" lIns="12700" tIns="0" rIns="12700" bIns="0" numCol="1" spcCol="1270" anchor="ctr" anchorCtr="0"/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/>
            <a:ea typeface="+mn-ea"/>
            <a:cs typeface="+mn-cs"/>
          </a:endParaRPr>
        </a:p>
      </dgm:t>
    </dgm:pt>
    <dgm:pt modelId="{F013F887-1EFD-44ED-B359-F8CEEEA1A61F}" type="sibTrans" cxnId="{593714B7-FA69-4513-B4C2-FA54B3D93BDA}">
      <dgm:prSet/>
      <dgm:spPr/>
      <dgm:t>
        <a:bodyPr/>
        <a:lstStyle/>
        <a:p>
          <a:endParaRPr lang="en-US"/>
        </a:p>
      </dgm:t>
    </dgm:pt>
    <dgm:pt modelId="{86209361-DAEF-409C-B9C3-11C70C948D08}">
      <dgm:prSet phldrT="[Text]"/>
      <dgm:spPr>
        <a:xfrm>
          <a:off x="7071309" y="43330"/>
          <a:ext cx="1700482" cy="850241"/>
        </a:xfrm>
        <a:solidFill>
          <a:srgbClr val="86A4F7">
            <a:lumMod val="20000"/>
            <a:lumOff val="80000"/>
          </a:srgbClr>
        </a:solidFill>
        <a:ln w="127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Med MVA</a:t>
          </a:r>
        </a:p>
      </dgm:t>
    </dgm:pt>
    <dgm:pt modelId="{C1EB25B0-C434-41E8-BFF3-BA9C82948CDB}" type="parTrans" cxnId="{4C76A7B3-5E0D-41EE-A682-651DD6EB2CE0}">
      <dgm:prSet/>
      <dgm:spPr>
        <a:xfrm rot="19411270">
          <a:off x="6400254" y="675136"/>
          <a:ext cx="743932" cy="28916"/>
        </a:xfrm>
        <a:noFill/>
        <a:ln w="127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endParaRPr lang="en-US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/>
            <a:ea typeface="+mn-ea"/>
            <a:cs typeface="+mn-cs"/>
          </a:endParaRPr>
        </a:p>
      </dgm:t>
    </dgm:pt>
    <dgm:pt modelId="{9F94CF4A-AF96-4B57-9F3F-079EFC94154E}" type="sibTrans" cxnId="{4C76A7B3-5E0D-41EE-A682-651DD6EB2CE0}">
      <dgm:prSet/>
      <dgm:spPr/>
      <dgm:t>
        <a:bodyPr/>
        <a:lstStyle/>
        <a:p>
          <a:endParaRPr lang="en-US"/>
        </a:p>
      </dgm:t>
    </dgm:pt>
    <dgm:pt modelId="{BCB54F11-E6C0-4C2D-96CA-42EB992D02C6}">
      <dgm:prSet phldrT="[Text]"/>
      <dgm:spPr>
        <a:xfrm>
          <a:off x="2384286" y="1487890"/>
          <a:ext cx="1700482" cy="850241"/>
        </a:xfrm>
        <a:solidFill>
          <a:srgbClr val="86A4F7">
            <a:lumMod val="20000"/>
            <a:lumOff val="80000"/>
          </a:srgbClr>
        </a:solidFill>
        <a:ln w="127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Med </a:t>
          </a:r>
          <a:r>
            <a:rPr lang="en-US" err="1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innkjøpsordre</a:t>
          </a:r>
          <a:endParaRPr lang="en-US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/>
            <a:ea typeface="+mn-ea"/>
            <a:cs typeface="+mn-cs"/>
          </a:endParaRPr>
        </a:p>
      </dgm:t>
    </dgm:pt>
    <dgm:pt modelId="{3171C63B-07FF-4437-B14F-142ED5A8A4C7}" type="sibTrans" cxnId="{4D84010F-BAB5-42CC-BD99-1DDD4FEF3369}">
      <dgm:prSet/>
      <dgm:spPr/>
      <dgm:t>
        <a:bodyPr/>
        <a:lstStyle/>
        <a:p>
          <a:endParaRPr lang="en-US"/>
        </a:p>
      </dgm:t>
    </dgm:pt>
    <dgm:pt modelId="{E093BDD2-87E5-4048-8CBB-5A7DDB90E422}" type="parTrans" cxnId="{4D84010F-BAB5-42CC-BD99-1DDD4FEF3369}">
      <dgm:prSet/>
      <dgm:spPr>
        <a:xfrm rot="18103853">
          <a:off x="1397532" y="2448552"/>
          <a:ext cx="1293314" cy="28916"/>
        </a:xfrm>
        <a:noFill/>
        <a:ln w="12700" cap="flat" cmpd="sng" algn="ctr">
          <a:solidFill>
            <a:sysClr val="windowText" lastClr="000000">
              <a:shade val="60000"/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endParaRPr lang="en-US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/>
            <a:ea typeface="+mn-ea"/>
            <a:cs typeface="+mn-cs"/>
          </a:endParaRPr>
        </a:p>
      </dgm:t>
    </dgm:pt>
    <dgm:pt modelId="{20E21E3E-A841-4758-8DDA-E8E3F7D9552A}">
      <dgm:prSet phldrT="[Text]"/>
      <dgm:spPr>
        <a:xfrm>
          <a:off x="4772648" y="1691021"/>
          <a:ext cx="1700482" cy="850241"/>
        </a:xfrm>
        <a:solidFill>
          <a:srgbClr val="86A4F7">
            <a:lumMod val="20000"/>
            <a:lumOff val="80000"/>
          </a:srgbClr>
        </a:solidFill>
        <a:ln w="127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1N = 25%</a:t>
          </a:r>
        </a:p>
        <a:p>
          <a:pPr>
            <a:buNone/>
          </a:pPr>
          <a:r>
            <a:rPr lang="en-US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11 = 15%</a:t>
          </a:r>
        </a:p>
        <a:p>
          <a:pPr>
            <a:buNone/>
          </a:pPr>
          <a:r>
            <a:rPr lang="en-US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12 = 12%</a:t>
          </a:r>
        </a:p>
      </dgm:t>
    </dgm:pt>
    <dgm:pt modelId="{51101805-D104-40D9-A505-FC8C5699EB55}" type="parTrans" cxnId="{C4C1E841-A0BA-408E-8BBD-D4173BED8814}">
      <dgm:prSet/>
      <dgm:spPr>
        <a:ln w="12700"/>
      </dgm:spPr>
      <dgm:t>
        <a:bodyPr/>
        <a:lstStyle/>
        <a:p>
          <a:endParaRPr lang="nb-NO"/>
        </a:p>
      </dgm:t>
    </dgm:pt>
    <dgm:pt modelId="{8DAA2DD2-412C-4328-BBB6-A4AD04F4DD83}" type="sibTrans" cxnId="{C4C1E841-A0BA-408E-8BBD-D4173BED8814}">
      <dgm:prSet/>
      <dgm:spPr/>
      <dgm:t>
        <a:bodyPr/>
        <a:lstStyle/>
        <a:p>
          <a:endParaRPr lang="nb-NO"/>
        </a:p>
      </dgm:t>
    </dgm:pt>
    <dgm:pt modelId="{24EEC066-2A0A-4537-941F-9A0621956B49}">
      <dgm:prSet phldrT="[Text]"/>
      <dgm:spPr>
        <a:xfrm>
          <a:off x="7071309" y="1138985"/>
          <a:ext cx="1700482" cy="850241"/>
        </a:xfrm>
        <a:solidFill>
          <a:srgbClr val="86A4F7">
            <a:lumMod val="20000"/>
            <a:lumOff val="80000"/>
          </a:srgbClr>
        </a:solidFill>
        <a:ln w="127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err="1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Uten</a:t>
          </a:r>
          <a:r>
            <a:rPr lang="en-US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 MVA</a:t>
          </a:r>
        </a:p>
      </dgm:t>
    </dgm:pt>
    <dgm:pt modelId="{DC6411BD-2E51-41F8-B18B-C846C02A4771}" type="parTrans" cxnId="{A7FC6C64-44A7-4E12-90F7-C2D17991F1F5}">
      <dgm:prSet/>
      <dgm:spPr>
        <a:ln w="12700"/>
      </dgm:spPr>
      <dgm:t>
        <a:bodyPr/>
        <a:lstStyle/>
        <a:p>
          <a:endParaRPr lang="nb-NO"/>
        </a:p>
      </dgm:t>
    </dgm:pt>
    <dgm:pt modelId="{24E8AC2C-81B9-460C-909D-E2F2C7BEA7F4}" type="sibTrans" cxnId="{A7FC6C64-44A7-4E12-90F7-C2D17991F1F5}">
      <dgm:prSet/>
      <dgm:spPr/>
      <dgm:t>
        <a:bodyPr/>
        <a:lstStyle/>
        <a:p>
          <a:endParaRPr lang="nb-NO"/>
        </a:p>
      </dgm:t>
    </dgm:pt>
    <dgm:pt modelId="{9515CE4E-7444-40EB-93A4-CDE98862AC6A}">
      <dgm:prSet phldrT="[Text]"/>
      <dgm:spPr>
        <a:xfrm>
          <a:off x="9529924" y="1430983"/>
          <a:ext cx="1700482" cy="850241"/>
        </a:xfrm>
        <a:solidFill>
          <a:srgbClr val="86A4F7">
            <a:lumMod val="20000"/>
            <a:lumOff val="80000"/>
          </a:srgbClr>
        </a:solidFill>
        <a:ln w="127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0 = </a:t>
          </a:r>
          <a:r>
            <a:rPr lang="en-US" err="1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ingen</a:t>
          </a:r>
          <a:r>
            <a:rPr lang="en-US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 </a:t>
          </a:r>
          <a:r>
            <a:rPr lang="en-US" err="1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avgift</a:t>
          </a:r>
          <a:endParaRPr lang="en-US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/>
            <a:ea typeface="+mn-ea"/>
            <a:cs typeface="+mn-cs"/>
          </a:endParaRPr>
        </a:p>
      </dgm:t>
    </dgm:pt>
    <dgm:pt modelId="{C9BD3022-12DF-4C70-8E59-09FFEE9E4FDF}" type="parTrans" cxnId="{7214EC45-A706-4341-8336-E3657E2C2419}">
      <dgm:prSet/>
      <dgm:spPr>
        <a:ln w="12700"/>
      </dgm:spPr>
      <dgm:t>
        <a:bodyPr/>
        <a:lstStyle/>
        <a:p>
          <a:endParaRPr lang="nb-NO"/>
        </a:p>
      </dgm:t>
    </dgm:pt>
    <dgm:pt modelId="{5D4110DA-07BA-4F3D-AFD5-8998664855EE}" type="sibTrans" cxnId="{7214EC45-A706-4341-8336-E3657E2C2419}">
      <dgm:prSet/>
      <dgm:spPr/>
      <dgm:t>
        <a:bodyPr/>
        <a:lstStyle/>
        <a:p>
          <a:endParaRPr lang="nb-NO"/>
        </a:p>
      </dgm:t>
    </dgm:pt>
    <dgm:pt modelId="{A753D3EE-876E-4DCA-8335-F51286301122}">
      <dgm:prSet phldrT="[Text]"/>
      <dgm:spPr>
        <a:xfrm>
          <a:off x="9529924" y="0"/>
          <a:ext cx="1700482" cy="850241"/>
        </a:xfrm>
        <a:solidFill>
          <a:srgbClr val="92D050"/>
        </a:solidFill>
        <a:ln w="127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X1 =25 %</a:t>
          </a:r>
        </a:p>
        <a:p>
          <a:pPr>
            <a:buNone/>
          </a:pPr>
          <a:r>
            <a:rPr lang="en-US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X2 =15 %</a:t>
          </a:r>
        </a:p>
        <a:p>
          <a:pPr>
            <a:buNone/>
          </a:pPr>
          <a:r>
            <a:rPr lang="en-US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X3 =12 %</a:t>
          </a:r>
        </a:p>
      </dgm:t>
    </dgm:pt>
    <dgm:pt modelId="{02BF3BD8-BDDF-42AE-A1FF-C85D257D4FEC}" type="sibTrans" cxnId="{972979B6-CC79-4EEA-BC52-9BEC8794E4D5}">
      <dgm:prSet/>
      <dgm:spPr/>
      <dgm:t>
        <a:bodyPr/>
        <a:lstStyle/>
        <a:p>
          <a:endParaRPr lang="en-US"/>
        </a:p>
      </dgm:t>
    </dgm:pt>
    <dgm:pt modelId="{763E9E80-693A-4235-87E4-A5AF017B577A}" type="parTrans" cxnId="{972979B6-CC79-4EEA-BC52-9BEC8794E4D5}">
      <dgm:prSet/>
      <dgm:spPr>
        <a:xfrm rot="21403734">
          <a:off x="8771174" y="432327"/>
          <a:ext cx="759368" cy="28916"/>
        </a:xfrm>
        <a:noFill/>
        <a:ln w="127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endParaRPr lang="en-US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/>
            <a:ea typeface="+mn-ea"/>
            <a:cs typeface="+mn-cs"/>
          </a:endParaRPr>
        </a:p>
      </dgm:t>
    </dgm:pt>
    <dgm:pt modelId="{E4FA29CC-0A41-474F-ACF4-D5BBDAEE26C9}" type="pres">
      <dgm:prSet presAssocID="{5B04D0A6-1A3B-42FB-A69E-8963AE4F499F}" presName="diagram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9449B6B0-6515-4A7E-AB61-3BE6DECB7B22}" type="pres">
      <dgm:prSet presAssocID="{A0D536EA-FCA4-4D02-B69F-F5A7FC700069}" presName="root1" presStyleCnt="0"/>
      <dgm:spPr/>
    </dgm:pt>
    <dgm:pt modelId="{49F26713-7102-4DBA-975A-66261E72AAEA}" type="pres">
      <dgm:prSet presAssocID="{A0D536EA-FCA4-4D02-B69F-F5A7FC700069}" presName="LevelOneTextNode" presStyleLbl="node0" presStyleIdx="0" presStyleCnt="1" custLinFactNeighborX="-583" custLinFactNeighborY="563">
        <dgm:presLayoutVars>
          <dgm:chPref val="3"/>
        </dgm:presLayoutVars>
      </dgm:prSet>
      <dgm:spPr/>
    </dgm:pt>
    <dgm:pt modelId="{91A61326-9538-492A-9AC2-BD3DD0E188B9}" type="pres">
      <dgm:prSet presAssocID="{A0D536EA-FCA4-4D02-B69F-F5A7FC700069}" presName="level2hierChild" presStyleCnt="0"/>
      <dgm:spPr/>
    </dgm:pt>
    <dgm:pt modelId="{7F888C55-15A4-49E1-9C53-F5560C9FCAFA}" type="pres">
      <dgm:prSet presAssocID="{E093BDD2-87E5-4048-8CBB-5A7DDB90E422}" presName="conn2-1" presStyleLbl="parChTrans1D2" presStyleIdx="0" presStyleCnt="1"/>
      <dgm:spPr>
        <a:custGeom>
          <a:avLst/>
          <a:gdLst/>
          <a:ahLst/>
          <a:cxnLst/>
          <a:rect l="0" t="0" r="0" b="0"/>
          <a:pathLst>
            <a:path>
              <a:moveTo>
                <a:pt x="0" y="14458"/>
              </a:moveTo>
              <a:lnTo>
                <a:pt x="1293314" y="14458"/>
              </a:lnTo>
            </a:path>
          </a:pathLst>
        </a:custGeom>
      </dgm:spPr>
    </dgm:pt>
    <dgm:pt modelId="{48C5E49C-2AC1-43B2-93AB-4E7D6CF04EDF}" type="pres">
      <dgm:prSet presAssocID="{E093BDD2-87E5-4048-8CBB-5A7DDB90E422}" presName="connTx" presStyleLbl="parChTrans1D2" presStyleIdx="0" presStyleCnt="1"/>
      <dgm:spPr/>
    </dgm:pt>
    <dgm:pt modelId="{B66D72A2-2E37-4AD0-8F1C-ABE77720E6C5}" type="pres">
      <dgm:prSet presAssocID="{BCB54F11-E6C0-4C2D-96CA-42EB992D02C6}" presName="root2" presStyleCnt="0"/>
      <dgm:spPr/>
    </dgm:pt>
    <dgm:pt modelId="{72DCF77F-51BA-4DC2-BCF3-B9464212ED05}" type="pres">
      <dgm:prSet presAssocID="{BCB54F11-E6C0-4C2D-96CA-42EB992D02C6}" presName="LevelTwoTextNode" presStyleLbl="node2" presStyleIdx="0" presStyleCnt="1">
        <dgm:presLayoutVars>
          <dgm:chPref val="3"/>
        </dgm:presLayoutVars>
      </dgm:prSet>
      <dgm:spPr/>
    </dgm:pt>
    <dgm:pt modelId="{29EFE6F9-E0CB-467B-9F2E-B1D362FD76EC}" type="pres">
      <dgm:prSet presAssocID="{BCB54F11-E6C0-4C2D-96CA-42EB992D02C6}" presName="level3hierChild" presStyleCnt="0"/>
      <dgm:spPr/>
    </dgm:pt>
    <dgm:pt modelId="{C233E241-7E46-40A9-88CB-5BD76C9FCEAB}" type="pres">
      <dgm:prSet presAssocID="{BDE809B0-70AC-4BFC-8CAB-586FB741C3F8}" presName="conn2-1" presStyleLbl="parChTrans1D3" presStyleIdx="0" presStyleCnt="2"/>
      <dgm:spPr/>
    </dgm:pt>
    <dgm:pt modelId="{CA329564-C9C7-492D-96CC-0D7495802B05}" type="pres">
      <dgm:prSet presAssocID="{BDE809B0-70AC-4BFC-8CAB-586FB741C3F8}" presName="connTx" presStyleLbl="parChTrans1D3" presStyleIdx="0" presStyleCnt="2"/>
      <dgm:spPr/>
    </dgm:pt>
    <dgm:pt modelId="{232529DE-05C8-45D2-9116-C20403AD79A4}" type="pres">
      <dgm:prSet presAssocID="{E527F988-260F-4D3E-9B7D-99895090B59C}" presName="root2" presStyleCnt="0"/>
      <dgm:spPr/>
    </dgm:pt>
    <dgm:pt modelId="{B221AB9B-0AFA-428C-81FD-607451257116}" type="pres">
      <dgm:prSet presAssocID="{E527F988-260F-4D3E-9B7D-99895090B59C}" presName="LevelTwoTextNode" presStyleLbl="node3" presStyleIdx="0" presStyleCnt="2" custLinFactNeighborX="-567" custLinFactNeighborY="-52356">
        <dgm:presLayoutVars>
          <dgm:chPref val="3"/>
        </dgm:presLayoutVars>
      </dgm:prSet>
      <dgm:spPr/>
    </dgm:pt>
    <dgm:pt modelId="{8E38D2CD-9EB3-4D22-AC16-4224D34FE0A9}" type="pres">
      <dgm:prSet presAssocID="{E527F988-260F-4D3E-9B7D-99895090B59C}" presName="level3hierChild" presStyleCnt="0"/>
      <dgm:spPr/>
    </dgm:pt>
    <dgm:pt modelId="{E8FB5037-1B66-428B-B905-9EFB24A9F6B9}" type="pres">
      <dgm:prSet presAssocID="{C1EB25B0-C434-41E8-BFF3-BA9C82948CDB}" presName="conn2-1" presStyleLbl="parChTrans1D4" presStyleIdx="0" presStyleCnt="5"/>
      <dgm:spPr/>
    </dgm:pt>
    <dgm:pt modelId="{AF731C2B-BD8C-43BB-8366-422CAAC7E1B5}" type="pres">
      <dgm:prSet presAssocID="{C1EB25B0-C434-41E8-BFF3-BA9C82948CDB}" presName="connTx" presStyleLbl="parChTrans1D4" presStyleIdx="0" presStyleCnt="5"/>
      <dgm:spPr/>
    </dgm:pt>
    <dgm:pt modelId="{3D72DB3A-A394-4C53-B6CF-99939D8263B6}" type="pres">
      <dgm:prSet presAssocID="{86209361-DAEF-409C-B9C3-11C70C948D08}" presName="root2" presStyleCnt="0"/>
      <dgm:spPr/>
    </dgm:pt>
    <dgm:pt modelId="{DA774EEF-A12D-4701-8AE1-E4FF8E1B0B96}" type="pres">
      <dgm:prSet presAssocID="{86209361-DAEF-409C-B9C3-11C70C948D08}" presName="LevelTwoTextNode" presStyleLbl="node4" presStyleIdx="0" presStyleCnt="5" custLinFactNeighborX="727" custLinFactNeighborY="-97440">
        <dgm:presLayoutVars>
          <dgm:chPref val="3"/>
        </dgm:presLayoutVars>
      </dgm:prSet>
      <dgm:spPr/>
    </dgm:pt>
    <dgm:pt modelId="{99DA38B6-A063-4E91-B747-B233089D5231}" type="pres">
      <dgm:prSet presAssocID="{86209361-DAEF-409C-B9C3-11C70C948D08}" presName="level3hierChild" presStyleCnt="0"/>
      <dgm:spPr/>
    </dgm:pt>
    <dgm:pt modelId="{2C9501DC-043B-49CB-8E43-23AFEF08C09E}" type="pres">
      <dgm:prSet presAssocID="{763E9E80-693A-4235-87E4-A5AF017B577A}" presName="conn2-1" presStyleLbl="parChTrans1D4" presStyleIdx="1" presStyleCnt="5"/>
      <dgm:spPr/>
    </dgm:pt>
    <dgm:pt modelId="{2B0BBD0F-B634-40A7-94CB-70F5BBE92CF3}" type="pres">
      <dgm:prSet presAssocID="{763E9E80-693A-4235-87E4-A5AF017B577A}" presName="connTx" presStyleLbl="parChTrans1D4" presStyleIdx="1" presStyleCnt="5"/>
      <dgm:spPr/>
    </dgm:pt>
    <dgm:pt modelId="{C9498B41-448C-49B5-9A1A-886F0CC3D526}" type="pres">
      <dgm:prSet presAssocID="{A753D3EE-876E-4DCA-8335-F51286301122}" presName="root2" presStyleCnt="0"/>
      <dgm:spPr/>
    </dgm:pt>
    <dgm:pt modelId="{877B6B26-B9FA-4C1D-B886-C43C1D00DE7C}" type="pres">
      <dgm:prSet presAssocID="{A753D3EE-876E-4DCA-8335-F51286301122}" presName="LevelTwoTextNode" presStyleLbl="node4" presStyleIdx="1" presStyleCnt="5" custLinFactNeighborX="-656" custLinFactNeighborY="-98465">
        <dgm:presLayoutVars>
          <dgm:chPref val="3"/>
        </dgm:presLayoutVars>
      </dgm:prSet>
      <dgm:spPr/>
    </dgm:pt>
    <dgm:pt modelId="{12617970-2FEF-4534-A706-D1685C516F2C}" type="pres">
      <dgm:prSet presAssocID="{A753D3EE-876E-4DCA-8335-F51286301122}" presName="level3hierChild" presStyleCnt="0"/>
      <dgm:spPr/>
    </dgm:pt>
    <dgm:pt modelId="{3C5BEF83-647B-4788-A17E-237206318A19}" type="pres">
      <dgm:prSet presAssocID="{DC6411BD-2E51-41F8-B18B-C846C02A4771}" presName="conn2-1" presStyleLbl="parChTrans1D4" presStyleIdx="2" presStyleCnt="5"/>
      <dgm:spPr/>
    </dgm:pt>
    <dgm:pt modelId="{679AE75B-F075-4EAF-AE01-9546B28B4916}" type="pres">
      <dgm:prSet presAssocID="{DC6411BD-2E51-41F8-B18B-C846C02A4771}" presName="connTx" presStyleLbl="parChTrans1D4" presStyleIdx="2" presStyleCnt="5"/>
      <dgm:spPr/>
    </dgm:pt>
    <dgm:pt modelId="{FA1EEE3D-D932-42FD-BDB5-A692410F1918}" type="pres">
      <dgm:prSet presAssocID="{24EEC066-2A0A-4537-941F-9A0621956B49}" presName="root2" presStyleCnt="0"/>
      <dgm:spPr/>
    </dgm:pt>
    <dgm:pt modelId="{4387A880-EAD6-4C43-BC26-1527085A10AF}" type="pres">
      <dgm:prSet presAssocID="{24EEC066-2A0A-4537-941F-9A0621956B49}" presName="LevelTwoTextNode" presStyleLbl="node4" presStyleIdx="2" presStyleCnt="5" custLinFactNeighborX="5090" custLinFactNeighborY="2155">
        <dgm:presLayoutVars>
          <dgm:chPref val="3"/>
        </dgm:presLayoutVars>
      </dgm:prSet>
      <dgm:spPr/>
    </dgm:pt>
    <dgm:pt modelId="{20007A47-36B8-4A05-A4CE-836B392332AD}" type="pres">
      <dgm:prSet presAssocID="{24EEC066-2A0A-4537-941F-9A0621956B49}" presName="level3hierChild" presStyleCnt="0"/>
      <dgm:spPr/>
    </dgm:pt>
    <dgm:pt modelId="{8AF396C3-F6FB-4F4E-A1A7-68137EC4588E}" type="pres">
      <dgm:prSet presAssocID="{C9BD3022-12DF-4C70-8E59-09FFEE9E4FDF}" presName="conn2-1" presStyleLbl="parChTrans1D4" presStyleIdx="3" presStyleCnt="5"/>
      <dgm:spPr/>
    </dgm:pt>
    <dgm:pt modelId="{5CE4C5F9-F290-47CD-9AD8-5CD4C887FCE7}" type="pres">
      <dgm:prSet presAssocID="{C9BD3022-12DF-4C70-8E59-09FFEE9E4FDF}" presName="connTx" presStyleLbl="parChTrans1D4" presStyleIdx="3" presStyleCnt="5"/>
      <dgm:spPr/>
    </dgm:pt>
    <dgm:pt modelId="{B4A68478-1109-441F-AB7B-F65E28432FA7}" type="pres">
      <dgm:prSet presAssocID="{9515CE4E-7444-40EB-93A4-CDE98862AC6A}" presName="root2" presStyleCnt="0"/>
      <dgm:spPr/>
    </dgm:pt>
    <dgm:pt modelId="{86F750E0-E294-48E3-980B-E5AA0A52228C}" type="pres">
      <dgm:prSet presAssocID="{9515CE4E-7444-40EB-93A4-CDE98862AC6A}" presName="LevelTwoTextNode" presStyleLbl="node4" presStyleIdx="3" presStyleCnt="5" custScaleY="90909" custLinFactNeighborX="1311" custLinFactNeighborY="1575">
        <dgm:presLayoutVars>
          <dgm:chPref val="3"/>
        </dgm:presLayoutVars>
      </dgm:prSet>
      <dgm:spPr/>
    </dgm:pt>
    <dgm:pt modelId="{0F1A95CB-57BB-4459-A7EC-424BF0F0F891}" type="pres">
      <dgm:prSet presAssocID="{9515CE4E-7444-40EB-93A4-CDE98862AC6A}" presName="level3hierChild" presStyleCnt="0"/>
      <dgm:spPr/>
    </dgm:pt>
    <dgm:pt modelId="{7E3E95B3-4AF5-4C00-A433-31C7191B61FC}" type="pres">
      <dgm:prSet presAssocID="{508F0CC1-6B0D-475C-8038-BE5018FD719C}" presName="conn2-1" presStyleLbl="parChTrans1D3" presStyleIdx="1" presStyleCnt="2"/>
      <dgm:spPr/>
    </dgm:pt>
    <dgm:pt modelId="{DB789958-8B86-42D9-BD88-FDF4AEFCE078}" type="pres">
      <dgm:prSet presAssocID="{508F0CC1-6B0D-475C-8038-BE5018FD719C}" presName="connTx" presStyleLbl="parChTrans1D3" presStyleIdx="1" presStyleCnt="2"/>
      <dgm:spPr/>
    </dgm:pt>
    <dgm:pt modelId="{D506E873-EBCD-48D1-9FCF-C730D52C2FFD}" type="pres">
      <dgm:prSet presAssocID="{B2FF7F00-EA45-4EE6-89D7-380CF5E6B833}" presName="root2" presStyleCnt="0"/>
      <dgm:spPr/>
    </dgm:pt>
    <dgm:pt modelId="{2F4B9BBE-D74F-46B8-8E04-835B1B1951CD}" type="pres">
      <dgm:prSet presAssocID="{B2FF7F00-EA45-4EE6-89D7-380CF5E6B833}" presName="LevelTwoTextNode" presStyleLbl="node3" presStyleIdx="1" presStyleCnt="2" custLinFactNeighborX="3149" custLinFactNeighborY="64722">
        <dgm:presLayoutVars>
          <dgm:chPref val="3"/>
        </dgm:presLayoutVars>
      </dgm:prSet>
      <dgm:spPr/>
    </dgm:pt>
    <dgm:pt modelId="{C5029331-C19E-44DD-BF15-2EFA87A1BFAD}" type="pres">
      <dgm:prSet presAssocID="{B2FF7F00-EA45-4EE6-89D7-380CF5E6B833}" presName="level3hierChild" presStyleCnt="0"/>
      <dgm:spPr/>
    </dgm:pt>
    <dgm:pt modelId="{17F6C8D1-745F-4387-9D78-4BA5C5F77EB9}" type="pres">
      <dgm:prSet presAssocID="{51101805-D104-40D9-A505-FC8C5699EB55}" presName="conn2-1" presStyleLbl="parChTrans1D4" presStyleIdx="4" presStyleCnt="5"/>
      <dgm:spPr/>
    </dgm:pt>
    <dgm:pt modelId="{801A634C-958A-4163-9501-FDC040FE57FE}" type="pres">
      <dgm:prSet presAssocID="{51101805-D104-40D9-A505-FC8C5699EB55}" presName="connTx" presStyleLbl="parChTrans1D4" presStyleIdx="4" presStyleCnt="5"/>
      <dgm:spPr/>
    </dgm:pt>
    <dgm:pt modelId="{B50B248E-B8DD-4EAC-9D1E-25AF98214D3F}" type="pres">
      <dgm:prSet presAssocID="{20E21E3E-A841-4758-8DDA-E8E3F7D9552A}" presName="root2" presStyleCnt="0"/>
      <dgm:spPr/>
    </dgm:pt>
    <dgm:pt modelId="{C2929E07-E261-42C3-BAD1-0CD21312846F}" type="pres">
      <dgm:prSet presAssocID="{20E21E3E-A841-4758-8DDA-E8E3F7D9552A}" presName="LevelTwoTextNode" presStyleLbl="node4" presStyleIdx="4" presStyleCnt="5" custLinFactNeighborX="-2322" custLinFactNeighborY="64722">
        <dgm:presLayoutVars>
          <dgm:chPref val="3"/>
        </dgm:presLayoutVars>
      </dgm:prSet>
      <dgm:spPr/>
    </dgm:pt>
    <dgm:pt modelId="{6EB433BA-30CC-445A-BE7A-BD62F7B46AC2}" type="pres">
      <dgm:prSet presAssocID="{20E21E3E-A841-4758-8DDA-E8E3F7D9552A}" presName="level3hierChild" presStyleCnt="0"/>
      <dgm:spPr/>
    </dgm:pt>
  </dgm:ptLst>
  <dgm:cxnLst>
    <dgm:cxn modelId="{98537F00-B3F0-4EDB-BC35-823481527AC0}" type="presOf" srcId="{508F0CC1-6B0D-475C-8038-BE5018FD719C}" destId="{7E3E95B3-4AF5-4C00-A433-31C7191B61FC}" srcOrd="0" destOrd="0" presId="urn:microsoft.com/office/officeart/2005/8/layout/hierarchy2"/>
    <dgm:cxn modelId="{97748605-3E19-4CF2-BDDF-DABC042B7A57}" type="presOf" srcId="{BCB54F11-E6C0-4C2D-96CA-42EB992D02C6}" destId="{72DCF77F-51BA-4DC2-BCF3-B9464212ED05}" srcOrd="0" destOrd="0" presId="urn:microsoft.com/office/officeart/2005/8/layout/hierarchy2"/>
    <dgm:cxn modelId="{6F2F7F0A-7F69-4479-9721-B7C176FD36FB}" type="presOf" srcId="{E527F988-260F-4D3E-9B7D-99895090B59C}" destId="{B221AB9B-0AFA-428C-81FD-607451257116}" srcOrd="0" destOrd="0" presId="urn:microsoft.com/office/officeart/2005/8/layout/hierarchy2"/>
    <dgm:cxn modelId="{4D84010F-BAB5-42CC-BD99-1DDD4FEF3369}" srcId="{A0D536EA-FCA4-4D02-B69F-F5A7FC700069}" destId="{BCB54F11-E6C0-4C2D-96CA-42EB992D02C6}" srcOrd="0" destOrd="0" parTransId="{E093BDD2-87E5-4048-8CBB-5A7DDB90E422}" sibTransId="{3171C63B-07FF-4437-B14F-142ED5A8A4C7}"/>
    <dgm:cxn modelId="{D4EF9511-7DBA-49CF-A2AC-85837AA13596}" type="presOf" srcId="{DC6411BD-2E51-41F8-B18B-C846C02A4771}" destId="{3C5BEF83-647B-4788-A17E-237206318A19}" srcOrd="0" destOrd="0" presId="urn:microsoft.com/office/officeart/2005/8/layout/hierarchy2"/>
    <dgm:cxn modelId="{E5BAA417-C9F0-451E-A796-48D5081A9AE4}" type="presOf" srcId="{24EEC066-2A0A-4537-941F-9A0621956B49}" destId="{4387A880-EAD6-4C43-BC26-1527085A10AF}" srcOrd="0" destOrd="0" presId="urn:microsoft.com/office/officeart/2005/8/layout/hierarchy2"/>
    <dgm:cxn modelId="{5B3B991E-CB39-4C72-9E41-807625641ADB}" type="presOf" srcId="{C1EB25B0-C434-41E8-BFF3-BA9C82948CDB}" destId="{AF731C2B-BD8C-43BB-8366-422CAAC7E1B5}" srcOrd="1" destOrd="0" presId="urn:microsoft.com/office/officeart/2005/8/layout/hierarchy2"/>
    <dgm:cxn modelId="{AC801D26-8617-44B7-BCD1-C6506C0AB32F}" type="presOf" srcId="{508F0CC1-6B0D-475C-8038-BE5018FD719C}" destId="{DB789958-8B86-42D9-BD88-FDF4AEFCE078}" srcOrd="1" destOrd="0" presId="urn:microsoft.com/office/officeart/2005/8/layout/hierarchy2"/>
    <dgm:cxn modelId="{E40D142F-A652-48C3-BCEA-7F91AD7983FB}" type="presOf" srcId="{9515CE4E-7444-40EB-93A4-CDE98862AC6A}" destId="{86F750E0-E294-48E3-980B-E5AA0A52228C}" srcOrd="0" destOrd="0" presId="urn:microsoft.com/office/officeart/2005/8/layout/hierarchy2"/>
    <dgm:cxn modelId="{44712C33-E542-41E8-9847-0704425EEFC5}" srcId="{5B04D0A6-1A3B-42FB-A69E-8963AE4F499F}" destId="{A0D536EA-FCA4-4D02-B69F-F5A7FC700069}" srcOrd="0" destOrd="0" parTransId="{37159368-7558-4D0F-A132-905783D58D12}" sibTransId="{649AB15E-AD08-47BD-9ECA-D5419AA8F8E7}"/>
    <dgm:cxn modelId="{976EAE3D-2820-4112-BBD4-2B9F976D23D5}" type="presOf" srcId="{C1EB25B0-C434-41E8-BFF3-BA9C82948CDB}" destId="{E8FB5037-1B66-428B-B905-9EFB24A9F6B9}" srcOrd="0" destOrd="0" presId="urn:microsoft.com/office/officeart/2005/8/layout/hierarchy2"/>
    <dgm:cxn modelId="{C4C1E841-A0BA-408E-8BBD-D4173BED8814}" srcId="{B2FF7F00-EA45-4EE6-89D7-380CF5E6B833}" destId="{20E21E3E-A841-4758-8DDA-E8E3F7D9552A}" srcOrd="0" destOrd="0" parTransId="{51101805-D104-40D9-A505-FC8C5699EB55}" sibTransId="{8DAA2DD2-412C-4328-BBB6-A4AD04F4DD83}"/>
    <dgm:cxn modelId="{DDA58143-A9FD-46C4-A41A-332E2634DED4}" type="presOf" srcId="{E093BDD2-87E5-4048-8CBB-5A7DDB90E422}" destId="{7F888C55-15A4-49E1-9C53-F5560C9FCAFA}" srcOrd="0" destOrd="0" presId="urn:microsoft.com/office/officeart/2005/8/layout/hierarchy2"/>
    <dgm:cxn modelId="{301D4844-C9FD-4412-BA37-ECC81493BF14}" type="presOf" srcId="{B2FF7F00-EA45-4EE6-89D7-380CF5E6B833}" destId="{2F4B9BBE-D74F-46B8-8E04-835B1B1951CD}" srcOrd="0" destOrd="0" presId="urn:microsoft.com/office/officeart/2005/8/layout/hierarchy2"/>
    <dgm:cxn modelId="{A7FC6C64-44A7-4E12-90F7-C2D17991F1F5}" srcId="{E527F988-260F-4D3E-9B7D-99895090B59C}" destId="{24EEC066-2A0A-4537-941F-9A0621956B49}" srcOrd="1" destOrd="0" parTransId="{DC6411BD-2E51-41F8-B18B-C846C02A4771}" sibTransId="{24E8AC2C-81B9-460C-909D-E2F2C7BEA7F4}"/>
    <dgm:cxn modelId="{7214EC45-A706-4341-8336-E3657E2C2419}" srcId="{24EEC066-2A0A-4537-941F-9A0621956B49}" destId="{9515CE4E-7444-40EB-93A4-CDE98862AC6A}" srcOrd="0" destOrd="0" parTransId="{C9BD3022-12DF-4C70-8E59-09FFEE9E4FDF}" sibTransId="{5D4110DA-07BA-4F3D-AFD5-8998664855EE}"/>
    <dgm:cxn modelId="{FDC88E4C-14C0-4E00-8060-D9EAD75047C8}" type="presOf" srcId="{A0D536EA-FCA4-4D02-B69F-F5A7FC700069}" destId="{49F26713-7102-4DBA-975A-66261E72AAEA}" srcOrd="0" destOrd="0" presId="urn:microsoft.com/office/officeart/2005/8/layout/hierarchy2"/>
    <dgm:cxn modelId="{A1101A70-F000-4E31-966F-F0362003627B}" type="presOf" srcId="{E093BDD2-87E5-4048-8CBB-5A7DDB90E422}" destId="{48C5E49C-2AC1-43B2-93AB-4E7D6CF04EDF}" srcOrd="1" destOrd="0" presId="urn:microsoft.com/office/officeart/2005/8/layout/hierarchy2"/>
    <dgm:cxn modelId="{67FDE854-EBF7-409E-877A-396291116745}" type="presOf" srcId="{C9BD3022-12DF-4C70-8E59-09FFEE9E4FDF}" destId="{8AF396C3-F6FB-4F4E-A1A7-68137EC4588E}" srcOrd="0" destOrd="0" presId="urn:microsoft.com/office/officeart/2005/8/layout/hierarchy2"/>
    <dgm:cxn modelId="{9756BE56-A3C3-4981-84D3-BD7B19B2CEE1}" type="presOf" srcId="{C9BD3022-12DF-4C70-8E59-09FFEE9E4FDF}" destId="{5CE4C5F9-F290-47CD-9AD8-5CD4C887FCE7}" srcOrd="1" destOrd="0" presId="urn:microsoft.com/office/officeart/2005/8/layout/hierarchy2"/>
    <dgm:cxn modelId="{7F0BAF7F-69B6-42D8-B297-2A995F04FBB3}" type="presOf" srcId="{763E9E80-693A-4235-87E4-A5AF017B577A}" destId="{2B0BBD0F-B634-40A7-94CB-70F5BBE92CF3}" srcOrd="1" destOrd="0" presId="urn:microsoft.com/office/officeart/2005/8/layout/hierarchy2"/>
    <dgm:cxn modelId="{058E749A-7DA0-42EC-B895-4CBBC228CE46}" type="presOf" srcId="{BDE809B0-70AC-4BFC-8CAB-586FB741C3F8}" destId="{CA329564-C9C7-492D-96CC-0D7495802B05}" srcOrd="1" destOrd="0" presId="urn:microsoft.com/office/officeart/2005/8/layout/hierarchy2"/>
    <dgm:cxn modelId="{96392A9C-0238-49CD-AAE5-E0E0EC16996F}" type="presOf" srcId="{763E9E80-693A-4235-87E4-A5AF017B577A}" destId="{2C9501DC-043B-49CB-8E43-23AFEF08C09E}" srcOrd="0" destOrd="0" presId="urn:microsoft.com/office/officeart/2005/8/layout/hierarchy2"/>
    <dgm:cxn modelId="{84E6F0A0-F456-4687-B2D4-B78920B5B493}" type="presOf" srcId="{BDE809B0-70AC-4BFC-8CAB-586FB741C3F8}" destId="{C233E241-7E46-40A9-88CB-5BD76C9FCEAB}" srcOrd="0" destOrd="0" presId="urn:microsoft.com/office/officeart/2005/8/layout/hierarchy2"/>
    <dgm:cxn modelId="{C7EE24A5-003D-4B6B-B63F-E45AB45F23CD}" type="presOf" srcId="{5B04D0A6-1A3B-42FB-A69E-8963AE4F499F}" destId="{E4FA29CC-0A41-474F-ACF4-D5BBDAEE26C9}" srcOrd="0" destOrd="0" presId="urn:microsoft.com/office/officeart/2005/8/layout/hierarchy2"/>
    <dgm:cxn modelId="{FBAD73A9-49A9-495A-96F7-361C4411EE32}" type="presOf" srcId="{DC6411BD-2E51-41F8-B18B-C846C02A4771}" destId="{679AE75B-F075-4EAF-AE01-9546B28B4916}" srcOrd="1" destOrd="0" presId="urn:microsoft.com/office/officeart/2005/8/layout/hierarchy2"/>
    <dgm:cxn modelId="{4C76A7B3-5E0D-41EE-A682-651DD6EB2CE0}" srcId="{E527F988-260F-4D3E-9B7D-99895090B59C}" destId="{86209361-DAEF-409C-B9C3-11C70C948D08}" srcOrd="0" destOrd="0" parTransId="{C1EB25B0-C434-41E8-BFF3-BA9C82948CDB}" sibTransId="{9F94CF4A-AF96-4B57-9F3F-079EFC94154E}"/>
    <dgm:cxn modelId="{972979B6-CC79-4EEA-BC52-9BEC8794E4D5}" srcId="{86209361-DAEF-409C-B9C3-11C70C948D08}" destId="{A753D3EE-876E-4DCA-8335-F51286301122}" srcOrd="0" destOrd="0" parTransId="{763E9E80-693A-4235-87E4-A5AF017B577A}" sibTransId="{02BF3BD8-BDDF-42AE-A1FF-C85D257D4FEC}"/>
    <dgm:cxn modelId="{593714B7-FA69-4513-B4C2-FA54B3D93BDA}" srcId="{BCB54F11-E6C0-4C2D-96CA-42EB992D02C6}" destId="{B2FF7F00-EA45-4EE6-89D7-380CF5E6B833}" srcOrd="1" destOrd="0" parTransId="{508F0CC1-6B0D-475C-8038-BE5018FD719C}" sibTransId="{F013F887-1EFD-44ED-B359-F8CEEEA1A61F}"/>
    <dgm:cxn modelId="{DD3CE8B9-D4B2-4A3F-8042-995A1DC63213}" type="presOf" srcId="{20E21E3E-A841-4758-8DDA-E8E3F7D9552A}" destId="{C2929E07-E261-42C3-BAD1-0CD21312846F}" srcOrd="0" destOrd="0" presId="urn:microsoft.com/office/officeart/2005/8/layout/hierarchy2"/>
    <dgm:cxn modelId="{BB5BD4BF-A5A6-4231-A9A8-82113F72D5A3}" type="presOf" srcId="{86209361-DAEF-409C-B9C3-11C70C948D08}" destId="{DA774EEF-A12D-4701-8AE1-E4FF8E1B0B96}" srcOrd="0" destOrd="0" presId="urn:microsoft.com/office/officeart/2005/8/layout/hierarchy2"/>
    <dgm:cxn modelId="{816325C3-87AE-4D72-BC5B-CF4A6913678E}" type="presOf" srcId="{51101805-D104-40D9-A505-FC8C5699EB55}" destId="{17F6C8D1-745F-4387-9D78-4BA5C5F77EB9}" srcOrd="0" destOrd="0" presId="urn:microsoft.com/office/officeart/2005/8/layout/hierarchy2"/>
    <dgm:cxn modelId="{DCE4BAC3-BF78-44F3-9241-75D3A1D0FFF0}" type="presOf" srcId="{51101805-D104-40D9-A505-FC8C5699EB55}" destId="{801A634C-958A-4163-9501-FDC040FE57FE}" srcOrd="1" destOrd="0" presId="urn:microsoft.com/office/officeart/2005/8/layout/hierarchy2"/>
    <dgm:cxn modelId="{E8D366CC-5C2A-463A-9041-841E10E5F4A8}" srcId="{BCB54F11-E6C0-4C2D-96CA-42EB992D02C6}" destId="{E527F988-260F-4D3E-9B7D-99895090B59C}" srcOrd="0" destOrd="0" parTransId="{BDE809B0-70AC-4BFC-8CAB-586FB741C3F8}" sibTransId="{E3502A46-028E-4A0D-BC02-7C21BC2F86F5}"/>
    <dgm:cxn modelId="{62431BDC-71DC-4495-A474-C01781A598EA}" type="presOf" srcId="{A753D3EE-876E-4DCA-8335-F51286301122}" destId="{877B6B26-B9FA-4C1D-B886-C43C1D00DE7C}" srcOrd="0" destOrd="0" presId="urn:microsoft.com/office/officeart/2005/8/layout/hierarchy2"/>
    <dgm:cxn modelId="{EE2CDF03-B874-4303-8A52-39A1DE3EE5B1}" type="presParOf" srcId="{E4FA29CC-0A41-474F-ACF4-D5BBDAEE26C9}" destId="{9449B6B0-6515-4A7E-AB61-3BE6DECB7B22}" srcOrd="0" destOrd="0" presId="urn:microsoft.com/office/officeart/2005/8/layout/hierarchy2"/>
    <dgm:cxn modelId="{01175764-B546-4EB0-A3B2-67FCD1BF00F5}" type="presParOf" srcId="{9449B6B0-6515-4A7E-AB61-3BE6DECB7B22}" destId="{49F26713-7102-4DBA-975A-66261E72AAEA}" srcOrd="0" destOrd="0" presId="urn:microsoft.com/office/officeart/2005/8/layout/hierarchy2"/>
    <dgm:cxn modelId="{39E33B60-1E15-43B5-9B10-6C1D524B2572}" type="presParOf" srcId="{9449B6B0-6515-4A7E-AB61-3BE6DECB7B22}" destId="{91A61326-9538-492A-9AC2-BD3DD0E188B9}" srcOrd="1" destOrd="0" presId="urn:microsoft.com/office/officeart/2005/8/layout/hierarchy2"/>
    <dgm:cxn modelId="{DC2C0101-6FB1-43E5-AE57-2E2F2D6FF258}" type="presParOf" srcId="{91A61326-9538-492A-9AC2-BD3DD0E188B9}" destId="{7F888C55-15A4-49E1-9C53-F5560C9FCAFA}" srcOrd="0" destOrd="0" presId="urn:microsoft.com/office/officeart/2005/8/layout/hierarchy2"/>
    <dgm:cxn modelId="{0D3E9B21-9610-4D76-8232-34E2095208F3}" type="presParOf" srcId="{7F888C55-15A4-49E1-9C53-F5560C9FCAFA}" destId="{48C5E49C-2AC1-43B2-93AB-4E7D6CF04EDF}" srcOrd="0" destOrd="0" presId="urn:microsoft.com/office/officeart/2005/8/layout/hierarchy2"/>
    <dgm:cxn modelId="{7408C1E6-08AF-4305-BA57-9DE7A3DD7467}" type="presParOf" srcId="{91A61326-9538-492A-9AC2-BD3DD0E188B9}" destId="{B66D72A2-2E37-4AD0-8F1C-ABE77720E6C5}" srcOrd="1" destOrd="0" presId="urn:microsoft.com/office/officeart/2005/8/layout/hierarchy2"/>
    <dgm:cxn modelId="{21B002F2-22BC-4E54-B13E-5FA638AFECE1}" type="presParOf" srcId="{B66D72A2-2E37-4AD0-8F1C-ABE77720E6C5}" destId="{72DCF77F-51BA-4DC2-BCF3-B9464212ED05}" srcOrd="0" destOrd="0" presId="urn:microsoft.com/office/officeart/2005/8/layout/hierarchy2"/>
    <dgm:cxn modelId="{D5EF6884-1F4A-4CE0-BEEC-45CFAD49B022}" type="presParOf" srcId="{B66D72A2-2E37-4AD0-8F1C-ABE77720E6C5}" destId="{29EFE6F9-E0CB-467B-9F2E-B1D362FD76EC}" srcOrd="1" destOrd="0" presId="urn:microsoft.com/office/officeart/2005/8/layout/hierarchy2"/>
    <dgm:cxn modelId="{69527C5F-A9F8-4BBD-A425-F6571ADBA13D}" type="presParOf" srcId="{29EFE6F9-E0CB-467B-9F2E-B1D362FD76EC}" destId="{C233E241-7E46-40A9-88CB-5BD76C9FCEAB}" srcOrd="0" destOrd="0" presId="urn:microsoft.com/office/officeart/2005/8/layout/hierarchy2"/>
    <dgm:cxn modelId="{76E55DA0-FCE2-47BE-8E88-C43899FC41A9}" type="presParOf" srcId="{C233E241-7E46-40A9-88CB-5BD76C9FCEAB}" destId="{CA329564-C9C7-492D-96CC-0D7495802B05}" srcOrd="0" destOrd="0" presId="urn:microsoft.com/office/officeart/2005/8/layout/hierarchy2"/>
    <dgm:cxn modelId="{71A6CBFD-21F9-40E2-B292-A324B8D6D837}" type="presParOf" srcId="{29EFE6F9-E0CB-467B-9F2E-B1D362FD76EC}" destId="{232529DE-05C8-45D2-9116-C20403AD79A4}" srcOrd="1" destOrd="0" presId="urn:microsoft.com/office/officeart/2005/8/layout/hierarchy2"/>
    <dgm:cxn modelId="{08838CCE-1F3F-47F9-9338-8DC4165C0D11}" type="presParOf" srcId="{232529DE-05C8-45D2-9116-C20403AD79A4}" destId="{B221AB9B-0AFA-428C-81FD-607451257116}" srcOrd="0" destOrd="0" presId="urn:microsoft.com/office/officeart/2005/8/layout/hierarchy2"/>
    <dgm:cxn modelId="{22CF3DAB-DD6F-4241-9519-8E6F70FEC568}" type="presParOf" srcId="{232529DE-05C8-45D2-9116-C20403AD79A4}" destId="{8E38D2CD-9EB3-4D22-AC16-4224D34FE0A9}" srcOrd="1" destOrd="0" presId="urn:microsoft.com/office/officeart/2005/8/layout/hierarchy2"/>
    <dgm:cxn modelId="{F28A5E56-6C82-48AC-8A31-BF223CE1061B}" type="presParOf" srcId="{8E38D2CD-9EB3-4D22-AC16-4224D34FE0A9}" destId="{E8FB5037-1B66-428B-B905-9EFB24A9F6B9}" srcOrd="0" destOrd="0" presId="urn:microsoft.com/office/officeart/2005/8/layout/hierarchy2"/>
    <dgm:cxn modelId="{C6C1D7C1-D478-422C-A2D0-08258050E40C}" type="presParOf" srcId="{E8FB5037-1B66-428B-B905-9EFB24A9F6B9}" destId="{AF731C2B-BD8C-43BB-8366-422CAAC7E1B5}" srcOrd="0" destOrd="0" presId="urn:microsoft.com/office/officeart/2005/8/layout/hierarchy2"/>
    <dgm:cxn modelId="{CF34B03F-0073-4B0E-A138-408A7BE39EA3}" type="presParOf" srcId="{8E38D2CD-9EB3-4D22-AC16-4224D34FE0A9}" destId="{3D72DB3A-A394-4C53-B6CF-99939D8263B6}" srcOrd="1" destOrd="0" presId="urn:microsoft.com/office/officeart/2005/8/layout/hierarchy2"/>
    <dgm:cxn modelId="{BA18A399-C31F-44D7-BFEB-5A55AB96CE6B}" type="presParOf" srcId="{3D72DB3A-A394-4C53-B6CF-99939D8263B6}" destId="{DA774EEF-A12D-4701-8AE1-E4FF8E1B0B96}" srcOrd="0" destOrd="0" presId="urn:microsoft.com/office/officeart/2005/8/layout/hierarchy2"/>
    <dgm:cxn modelId="{5A76B24B-F79E-44A3-B801-E570FD68B378}" type="presParOf" srcId="{3D72DB3A-A394-4C53-B6CF-99939D8263B6}" destId="{99DA38B6-A063-4E91-B747-B233089D5231}" srcOrd="1" destOrd="0" presId="urn:microsoft.com/office/officeart/2005/8/layout/hierarchy2"/>
    <dgm:cxn modelId="{D565742A-2053-4485-AC6E-F76AB9516993}" type="presParOf" srcId="{99DA38B6-A063-4E91-B747-B233089D5231}" destId="{2C9501DC-043B-49CB-8E43-23AFEF08C09E}" srcOrd="0" destOrd="0" presId="urn:microsoft.com/office/officeart/2005/8/layout/hierarchy2"/>
    <dgm:cxn modelId="{6BB25101-12CC-4F1B-9DBC-4D3A4C02A3EE}" type="presParOf" srcId="{2C9501DC-043B-49CB-8E43-23AFEF08C09E}" destId="{2B0BBD0F-B634-40A7-94CB-70F5BBE92CF3}" srcOrd="0" destOrd="0" presId="urn:microsoft.com/office/officeart/2005/8/layout/hierarchy2"/>
    <dgm:cxn modelId="{957DBBD9-8F62-4B2F-9A73-3F93C8A9A77D}" type="presParOf" srcId="{99DA38B6-A063-4E91-B747-B233089D5231}" destId="{C9498B41-448C-49B5-9A1A-886F0CC3D526}" srcOrd="1" destOrd="0" presId="urn:microsoft.com/office/officeart/2005/8/layout/hierarchy2"/>
    <dgm:cxn modelId="{ACF7090A-A772-4ED9-96A7-944BD7300D27}" type="presParOf" srcId="{C9498B41-448C-49B5-9A1A-886F0CC3D526}" destId="{877B6B26-B9FA-4C1D-B886-C43C1D00DE7C}" srcOrd="0" destOrd="0" presId="urn:microsoft.com/office/officeart/2005/8/layout/hierarchy2"/>
    <dgm:cxn modelId="{27E66B9C-D9BA-471E-A667-F7E3B870CFF7}" type="presParOf" srcId="{C9498B41-448C-49B5-9A1A-886F0CC3D526}" destId="{12617970-2FEF-4534-A706-D1685C516F2C}" srcOrd="1" destOrd="0" presId="urn:microsoft.com/office/officeart/2005/8/layout/hierarchy2"/>
    <dgm:cxn modelId="{08A4C72D-55B3-486F-9C8F-6E494F091400}" type="presParOf" srcId="{8E38D2CD-9EB3-4D22-AC16-4224D34FE0A9}" destId="{3C5BEF83-647B-4788-A17E-237206318A19}" srcOrd="2" destOrd="0" presId="urn:microsoft.com/office/officeart/2005/8/layout/hierarchy2"/>
    <dgm:cxn modelId="{1100ACAA-918A-4554-A90E-71552F957EC5}" type="presParOf" srcId="{3C5BEF83-647B-4788-A17E-237206318A19}" destId="{679AE75B-F075-4EAF-AE01-9546B28B4916}" srcOrd="0" destOrd="0" presId="urn:microsoft.com/office/officeart/2005/8/layout/hierarchy2"/>
    <dgm:cxn modelId="{FA11457C-81A8-4234-8A44-AAAFBE8B1D4E}" type="presParOf" srcId="{8E38D2CD-9EB3-4D22-AC16-4224D34FE0A9}" destId="{FA1EEE3D-D932-42FD-BDB5-A692410F1918}" srcOrd="3" destOrd="0" presId="urn:microsoft.com/office/officeart/2005/8/layout/hierarchy2"/>
    <dgm:cxn modelId="{F955D727-87DF-440E-B48D-A0FC0C867635}" type="presParOf" srcId="{FA1EEE3D-D932-42FD-BDB5-A692410F1918}" destId="{4387A880-EAD6-4C43-BC26-1527085A10AF}" srcOrd="0" destOrd="0" presId="urn:microsoft.com/office/officeart/2005/8/layout/hierarchy2"/>
    <dgm:cxn modelId="{0C3CDA4B-D01D-46FC-B902-B43346E6F1DA}" type="presParOf" srcId="{FA1EEE3D-D932-42FD-BDB5-A692410F1918}" destId="{20007A47-36B8-4A05-A4CE-836B392332AD}" srcOrd="1" destOrd="0" presId="urn:microsoft.com/office/officeart/2005/8/layout/hierarchy2"/>
    <dgm:cxn modelId="{632D3388-8D3F-4F7E-A040-47AD636CCF83}" type="presParOf" srcId="{20007A47-36B8-4A05-A4CE-836B392332AD}" destId="{8AF396C3-F6FB-4F4E-A1A7-68137EC4588E}" srcOrd="0" destOrd="0" presId="urn:microsoft.com/office/officeart/2005/8/layout/hierarchy2"/>
    <dgm:cxn modelId="{51F7EFC4-943B-4161-9A83-1628DA072ADF}" type="presParOf" srcId="{8AF396C3-F6FB-4F4E-A1A7-68137EC4588E}" destId="{5CE4C5F9-F290-47CD-9AD8-5CD4C887FCE7}" srcOrd="0" destOrd="0" presId="urn:microsoft.com/office/officeart/2005/8/layout/hierarchy2"/>
    <dgm:cxn modelId="{95F55D83-41AF-4E73-83C6-AE147C729A17}" type="presParOf" srcId="{20007A47-36B8-4A05-A4CE-836B392332AD}" destId="{B4A68478-1109-441F-AB7B-F65E28432FA7}" srcOrd="1" destOrd="0" presId="urn:microsoft.com/office/officeart/2005/8/layout/hierarchy2"/>
    <dgm:cxn modelId="{E11E1D38-BD26-4492-A869-D9A269C487A3}" type="presParOf" srcId="{B4A68478-1109-441F-AB7B-F65E28432FA7}" destId="{86F750E0-E294-48E3-980B-E5AA0A52228C}" srcOrd="0" destOrd="0" presId="urn:microsoft.com/office/officeart/2005/8/layout/hierarchy2"/>
    <dgm:cxn modelId="{B4B9C642-9AFB-4B85-8E73-F18A2523E69A}" type="presParOf" srcId="{B4A68478-1109-441F-AB7B-F65E28432FA7}" destId="{0F1A95CB-57BB-4459-A7EC-424BF0F0F891}" srcOrd="1" destOrd="0" presId="urn:microsoft.com/office/officeart/2005/8/layout/hierarchy2"/>
    <dgm:cxn modelId="{DFAF1711-F6F9-4D6A-8AF2-F5B83B9BC8DF}" type="presParOf" srcId="{29EFE6F9-E0CB-467B-9F2E-B1D362FD76EC}" destId="{7E3E95B3-4AF5-4C00-A433-31C7191B61FC}" srcOrd="2" destOrd="0" presId="urn:microsoft.com/office/officeart/2005/8/layout/hierarchy2"/>
    <dgm:cxn modelId="{2E7DBBC2-1BE0-4954-B7A7-F809CF25E4EE}" type="presParOf" srcId="{7E3E95B3-4AF5-4C00-A433-31C7191B61FC}" destId="{DB789958-8B86-42D9-BD88-FDF4AEFCE078}" srcOrd="0" destOrd="0" presId="urn:microsoft.com/office/officeart/2005/8/layout/hierarchy2"/>
    <dgm:cxn modelId="{8177D83E-C0F0-4B3A-AF9C-58E5E219E131}" type="presParOf" srcId="{29EFE6F9-E0CB-467B-9F2E-B1D362FD76EC}" destId="{D506E873-EBCD-48D1-9FCF-C730D52C2FFD}" srcOrd="3" destOrd="0" presId="urn:microsoft.com/office/officeart/2005/8/layout/hierarchy2"/>
    <dgm:cxn modelId="{FE6411C4-40C5-4A56-A7F6-6FE972F072E1}" type="presParOf" srcId="{D506E873-EBCD-48D1-9FCF-C730D52C2FFD}" destId="{2F4B9BBE-D74F-46B8-8E04-835B1B1951CD}" srcOrd="0" destOrd="0" presId="urn:microsoft.com/office/officeart/2005/8/layout/hierarchy2"/>
    <dgm:cxn modelId="{2B8FEDF2-D09A-4094-AB83-BD8B3A354CAD}" type="presParOf" srcId="{D506E873-EBCD-48D1-9FCF-C730D52C2FFD}" destId="{C5029331-C19E-44DD-BF15-2EFA87A1BFAD}" srcOrd="1" destOrd="0" presId="urn:microsoft.com/office/officeart/2005/8/layout/hierarchy2"/>
    <dgm:cxn modelId="{D1BFA28A-E855-4C02-902B-8F68B7ADE3EF}" type="presParOf" srcId="{C5029331-C19E-44DD-BF15-2EFA87A1BFAD}" destId="{17F6C8D1-745F-4387-9D78-4BA5C5F77EB9}" srcOrd="0" destOrd="0" presId="urn:microsoft.com/office/officeart/2005/8/layout/hierarchy2"/>
    <dgm:cxn modelId="{BFD9CC8C-535D-4FF2-9605-B44D31A7B4BE}" type="presParOf" srcId="{17F6C8D1-745F-4387-9D78-4BA5C5F77EB9}" destId="{801A634C-958A-4163-9501-FDC040FE57FE}" srcOrd="0" destOrd="0" presId="urn:microsoft.com/office/officeart/2005/8/layout/hierarchy2"/>
    <dgm:cxn modelId="{6F686E17-AAEC-420B-8072-B586BF9DE5A7}" type="presParOf" srcId="{C5029331-C19E-44DD-BF15-2EFA87A1BFAD}" destId="{B50B248E-B8DD-4EAC-9D1E-25AF98214D3F}" srcOrd="1" destOrd="0" presId="urn:microsoft.com/office/officeart/2005/8/layout/hierarchy2"/>
    <dgm:cxn modelId="{67F87E14-EDB4-4B93-972F-D920C35F4011}" type="presParOf" srcId="{B50B248E-B8DD-4EAC-9D1E-25AF98214D3F}" destId="{C2929E07-E261-42C3-BAD1-0CD21312846F}" srcOrd="0" destOrd="0" presId="urn:microsoft.com/office/officeart/2005/8/layout/hierarchy2"/>
    <dgm:cxn modelId="{33B3ADE7-6E0A-475D-A9A7-DAF4CFDA14FB}" type="presParOf" srcId="{B50B248E-B8DD-4EAC-9D1E-25AF98214D3F}" destId="{6EB433BA-30CC-445A-BE7A-BD62F7B46AC2}" srcOrd="1" destOrd="0" presId="urn:microsoft.com/office/officeart/2005/8/layout/hierarchy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9D0601D-C30D-4A46-B353-97FCDE897D7B}" type="doc">
      <dgm:prSet loTypeId="urn:microsoft.com/office/officeart/2005/8/layout/hierarchy2" loCatId="hierarchy" qsTypeId="urn:microsoft.com/office/officeart/2005/8/quickstyle/simple1" qsCatId="simple" csTypeId="urn:microsoft.com/office/officeart/2005/8/colors/accent0_1" csCatId="mainScheme" phldr="1"/>
      <dgm:spPr/>
      <dgm:t>
        <a:bodyPr/>
        <a:lstStyle/>
        <a:p>
          <a:endParaRPr lang="en-US"/>
        </a:p>
      </dgm:t>
    </dgm:pt>
    <dgm:pt modelId="{D375F5CE-A497-4D94-9390-5EE001E771C4}">
      <dgm:prSet phldrT="[Text]"/>
      <dgm:spPr>
        <a:solidFill>
          <a:schemeClr val="bg1">
            <a:lumMod val="85000"/>
          </a:schemeClr>
        </a:solidFill>
        <a:ln w="12700"/>
      </dgm:spPr>
      <dgm:t>
        <a:bodyPr/>
        <a:lstStyle/>
        <a:p>
          <a:r>
            <a:rPr lang="en-US" err="1"/>
            <a:t>Utlandet</a:t>
          </a:r>
          <a:endParaRPr lang="en-US"/>
        </a:p>
      </dgm:t>
    </dgm:pt>
    <dgm:pt modelId="{28ED2A10-62B8-4F91-A0D5-E8DDD577CF53}" type="parTrans" cxnId="{801F48D6-E2FC-4772-A1EA-58CBD12167FA}">
      <dgm:prSet/>
      <dgm:spPr/>
      <dgm:t>
        <a:bodyPr/>
        <a:lstStyle/>
        <a:p>
          <a:endParaRPr lang="en-US"/>
        </a:p>
      </dgm:t>
    </dgm:pt>
    <dgm:pt modelId="{A4C253F0-248F-4B08-8EFE-AF7FA629F822}" type="sibTrans" cxnId="{801F48D6-E2FC-4772-A1EA-58CBD12167FA}">
      <dgm:prSet/>
      <dgm:spPr/>
      <dgm:t>
        <a:bodyPr/>
        <a:lstStyle/>
        <a:p>
          <a:endParaRPr lang="en-US"/>
        </a:p>
      </dgm:t>
    </dgm:pt>
    <dgm:pt modelId="{308731A1-30B3-44B7-8C14-ED5DEA652356}">
      <dgm:prSet phldrT="[Text]"/>
      <dgm:spPr>
        <a:solidFill>
          <a:schemeClr val="accent3">
            <a:lumMod val="20000"/>
            <a:lumOff val="80000"/>
          </a:schemeClr>
        </a:solidFill>
        <a:ln w="12700"/>
      </dgm:spPr>
      <dgm:t>
        <a:bodyPr/>
        <a:lstStyle/>
        <a:p>
          <a:r>
            <a:rPr lang="en-US" err="1"/>
            <a:t>Vare</a:t>
          </a:r>
          <a:endParaRPr lang="en-US"/>
        </a:p>
      </dgm:t>
    </dgm:pt>
    <dgm:pt modelId="{779A652F-6E2E-448F-B989-231B13B490F9}" type="parTrans" cxnId="{F2144CA0-B2A1-46B8-BB0B-D3F1E2B47504}">
      <dgm:prSet/>
      <dgm:spPr>
        <a:ln w="12700"/>
      </dgm:spPr>
      <dgm:t>
        <a:bodyPr/>
        <a:lstStyle/>
        <a:p>
          <a:endParaRPr lang="en-US"/>
        </a:p>
      </dgm:t>
    </dgm:pt>
    <dgm:pt modelId="{CB08FA17-C73C-49DE-A0C2-523942C96612}" type="sibTrans" cxnId="{F2144CA0-B2A1-46B8-BB0B-D3F1E2B47504}">
      <dgm:prSet/>
      <dgm:spPr/>
      <dgm:t>
        <a:bodyPr/>
        <a:lstStyle/>
        <a:p>
          <a:endParaRPr lang="en-US"/>
        </a:p>
      </dgm:t>
    </dgm:pt>
    <dgm:pt modelId="{8C22994A-6C87-4778-9604-B44579DA5A64}">
      <dgm:prSet phldrT="[Text]"/>
      <dgm:spPr>
        <a:solidFill>
          <a:schemeClr val="accent3">
            <a:lumMod val="20000"/>
            <a:lumOff val="80000"/>
          </a:schemeClr>
        </a:solidFill>
        <a:ln w="12700"/>
      </dgm:spPr>
      <dgm:t>
        <a:bodyPr/>
        <a:lstStyle/>
        <a:p>
          <a:r>
            <a:rPr lang="en-US" err="1"/>
            <a:t>Uten</a:t>
          </a:r>
          <a:r>
            <a:rPr lang="en-US"/>
            <a:t> </a:t>
          </a:r>
          <a:r>
            <a:rPr lang="en-US" err="1"/>
            <a:t>fradrag</a:t>
          </a:r>
          <a:endParaRPr lang="en-US"/>
        </a:p>
      </dgm:t>
    </dgm:pt>
    <dgm:pt modelId="{2271F7E3-6999-477A-9E6B-CE18D66C7D37}" type="parTrans" cxnId="{27B9C99B-10A2-4803-9CA1-40F65D5D8D05}">
      <dgm:prSet/>
      <dgm:spPr>
        <a:ln w="12700"/>
      </dgm:spPr>
      <dgm:t>
        <a:bodyPr/>
        <a:lstStyle/>
        <a:p>
          <a:endParaRPr lang="en-US"/>
        </a:p>
      </dgm:t>
    </dgm:pt>
    <dgm:pt modelId="{1AB1CF33-DBFD-4FA1-B515-195918D7E4D1}" type="sibTrans" cxnId="{27B9C99B-10A2-4803-9CA1-40F65D5D8D05}">
      <dgm:prSet/>
      <dgm:spPr/>
      <dgm:t>
        <a:bodyPr/>
        <a:lstStyle/>
        <a:p>
          <a:endParaRPr lang="en-US"/>
        </a:p>
      </dgm:t>
    </dgm:pt>
    <dgm:pt modelId="{AA68AE02-CD46-4B96-BBDA-05B734CBAFE6}">
      <dgm:prSet phldrT="[Text]"/>
      <dgm:spPr>
        <a:solidFill>
          <a:schemeClr val="accent3">
            <a:lumMod val="20000"/>
            <a:lumOff val="80000"/>
          </a:schemeClr>
        </a:solidFill>
        <a:ln w="12700"/>
      </dgm:spPr>
      <dgm:t>
        <a:bodyPr/>
        <a:lstStyle/>
        <a:p>
          <a:r>
            <a:rPr lang="en-US"/>
            <a:t>Med </a:t>
          </a:r>
          <a:r>
            <a:rPr lang="en-US" err="1"/>
            <a:t>fradrag</a:t>
          </a:r>
          <a:endParaRPr lang="en-US"/>
        </a:p>
      </dgm:t>
    </dgm:pt>
    <dgm:pt modelId="{50D4A3EC-0BEF-437A-885C-333ACB2621B0}" type="parTrans" cxnId="{7221D051-7A18-4DCF-9CAB-F831E19DEACE}">
      <dgm:prSet/>
      <dgm:spPr>
        <a:ln w="12700"/>
      </dgm:spPr>
      <dgm:t>
        <a:bodyPr/>
        <a:lstStyle/>
        <a:p>
          <a:endParaRPr lang="en-US"/>
        </a:p>
      </dgm:t>
    </dgm:pt>
    <dgm:pt modelId="{36B5CB08-036B-45C9-B10E-1C6C7002F38A}" type="sibTrans" cxnId="{7221D051-7A18-4DCF-9CAB-F831E19DEACE}">
      <dgm:prSet/>
      <dgm:spPr/>
      <dgm:t>
        <a:bodyPr/>
        <a:lstStyle/>
        <a:p>
          <a:endParaRPr lang="en-US"/>
        </a:p>
      </dgm:t>
    </dgm:pt>
    <dgm:pt modelId="{DFDF8DFB-770E-4F5E-A138-A3CE78F2022C}">
      <dgm:prSet phldrT="[Text]"/>
      <dgm:spPr>
        <a:solidFill>
          <a:schemeClr val="accent1">
            <a:lumMod val="20000"/>
            <a:lumOff val="80000"/>
          </a:schemeClr>
        </a:solidFill>
        <a:ln w="12700"/>
      </dgm:spPr>
      <dgm:t>
        <a:bodyPr/>
        <a:lstStyle/>
        <a:p>
          <a:r>
            <a:rPr lang="en-US"/>
            <a:t>Med </a:t>
          </a:r>
          <a:r>
            <a:rPr lang="en-US" err="1"/>
            <a:t>fradrag</a:t>
          </a:r>
          <a:endParaRPr lang="en-US"/>
        </a:p>
      </dgm:t>
    </dgm:pt>
    <dgm:pt modelId="{9BCA0F40-571B-4379-BB74-2CD9E61040D1}" type="parTrans" cxnId="{BC17D1E9-DA7E-41AF-9EAA-6DCBE5CA7629}">
      <dgm:prSet/>
      <dgm:spPr>
        <a:ln w="12700"/>
      </dgm:spPr>
      <dgm:t>
        <a:bodyPr/>
        <a:lstStyle/>
        <a:p>
          <a:endParaRPr lang="en-US"/>
        </a:p>
      </dgm:t>
    </dgm:pt>
    <dgm:pt modelId="{A0709CB2-193D-4FF2-A1FE-0AA21646369B}" type="sibTrans" cxnId="{BC17D1E9-DA7E-41AF-9EAA-6DCBE5CA7629}">
      <dgm:prSet/>
      <dgm:spPr/>
      <dgm:t>
        <a:bodyPr/>
        <a:lstStyle/>
        <a:p>
          <a:endParaRPr lang="en-US"/>
        </a:p>
      </dgm:t>
    </dgm:pt>
    <dgm:pt modelId="{EBBD4A29-A00C-40FF-9EEF-029505AA1317}">
      <dgm:prSet phldrT="[Text]"/>
      <dgm:spPr>
        <a:solidFill>
          <a:schemeClr val="accent1">
            <a:lumMod val="20000"/>
            <a:lumOff val="80000"/>
          </a:schemeClr>
        </a:solidFill>
        <a:ln w="12700"/>
      </dgm:spPr>
      <dgm:t>
        <a:bodyPr/>
        <a:lstStyle/>
        <a:p>
          <a:r>
            <a:rPr lang="en-US" err="1"/>
            <a:t>Uten</a:t>
          </a:r>
          <a:r>
            <a:rPr lang="en-US"/>
            <a:t> </a:t>
          </a:r>
          <a:r>
            <a:rPr lang="en-US" err="1"/>
            <a:t>fradrag</a:t>
          </a:r>
          <a:endParaRPr lang="en-US"/>
        </a:p>
      </dgm:t>
    </dgm:pt>
    <dgm:pt modelId="{7A0A8722-618C-49BB-928E-90E432D27A95}" type="parTrans" cxnId="{CEDE3F71-D7B5-4C86-9C64-C53D9F09A762}">
      <dgm:prSet/>
      <dgm:spPr>
        <a:ln w="12700"/>
      </dgm:spPr>
      <dgm:t>
        <a:bodyPr/>
        <a:lstStyle/>
        <a:p>
          <a:endParaRPr lang="en-US"/>
        </a:p>
      </dgm:t>
    </dgm:pt>
    <dgm:pt modelId="{5E35DC17-E949-4DB6-BD65-D665C3778283}" type="sibTrans" cxnId="{CEDE3F71-D7B5-4C86-9C64-C53D9F09A762}">
      <dgm:prSet/>
      <dgm:spPr/>
      <dgm:t>
        <a:bodyPr/>
        <a:lstStyle/>
        <a:p>
          <a:endParaRPr lang="en-US"/>
        </a:p>
      </dgm:t>
    </dgm:pt>
    <dgm:pt modelId="{E34F46F6-202B-41D2-A438-F74B9032655E}">
      <dgm:prSet phldrT="[Text]"/>
      <dgm:spPr>
        <a:solidFill>
          <a:srgbClr val="92D050"/>
        </a:solidFill>
        <a:ln w="12700"/>
      </dgm:spPr>
      <dgm:t>
        <a:bodyPr/>
        <a:lstStyle/>
        <a:p>
          <a:r>
            <a:rPr lang="en-US"/>
            <a:t>20 = 25%</a:t>
          </a:r>
        </a:p>
        <a:p>
          <a:r>
            <a:rPr lang="en-US"/>
            <a:t>27 = 15%</a:t>
          </a:r>
        </a:p>
      </dgm:t>
    </dgm:pt>
    <dgm:pt modelId="{69E257A6-B7E3-4F77-BFE3-3104A96745D3}" type="parTrans" cxnId="{35E0DF0B-7FC4-4057-8863-39AE33ED14A9}">
      <dgm:prSet/>
      <dgm:spPr>
        <a:ln w="12700"/>
      </dgm:spPr>
      <dgm:t>
        <a:bodyPr/>
        <a:lstStyle/>
        <a:p>
          <a:endParaRPr lang="en-US"/>
        </a:p>
      </dgm:t>
    </dgm:pt>
    <dgm:pt modelId="{AA118AAE-2995-46C1-8B41-F8783047C8A8}" type="sibTrans" cxnId="{35E0DF0B-7FC4-4057-8863-39AE33ED14A9}">
      <dgm:prSet/>
      <dgm:spPr/>
      <dgm:t>
        <a:bodyPr/>
        <a:lstStyle/>
        <a:p>
          <a:endParaRPr lang="en-US"/>
        </a:p>
      </dgm:t>
    </dgm:pt>
    <dgm:pt modelId="{ED397C4B-3FF8-43C7-AFB2-943BA49DFDFA}">
      <dgm:prSet phldrT="[Text]"/>
      <dgm:spPr>
        <a:solidFill>
          <a:schemeClr val="accent3">
            <a:lumMod val="20000"/>
            <a:lumOff val="80000"/>
          </a:schemeClr>
        </a:solidFill>
        <a:ln w="12700"/>
      </dgm:spPr>
      <dgm:t>
        <a:bodyPr/>
        <a:lstStyle/>
        <a:p>
          <a:pPr algn="ctr"/>
          <a:r>
            <a:rPr lang="en-US"/>
            <a:t>21 = 25%</a:t>
          </a:r>
          <a:br>
            <a:rPr lang="en-US"/>
          </a:br>
          <a:r>
            <a:rPr lang="en-US"/>
            <a:t>22 = 15%</a:t>
          </a:r>
          <a:br>
            <a:rPr lang="en-US"/>
          </a:br>
          <a:r>
            <a:rPr lang="en-US"/>
            <a:t>23 =  0% </a:t>
          </a:r>
        </a:p>
      </dgm:t>
    </dgm:pt>
    <dgm:pt modelId="{C7D2BF5F-2160-4F1B-B9A0-756EE86FBACD}" type="parTrans" cxnId="{BB49F375-5060-470A-AAC6-112E578717C2}">
      <dgm:prSet/>
      <dgm:spPr>
        <a:ln w="12700"/>
      </dgm:spPr>
      <dgm:t>
        <a:bodyPr/>
        <a:lstStyle/>
        <a:p>
          <a:endParaRPr lang="en-US"/>
        </a:p>
      </dgm:t>
    </dgm:pt>
    <dgm:pt modelId="{C76DA601-EA3F-4C9D-B814-35B50D7D03B6}" type="sibTrans" cxnId="{BB49F375-5060-470A-AAC6-112E578717C2}">
      <dgm:prSet/>
      <dgm:spPr/>
      <dgm:t>
        <a:bodyPr/>
        <a:lstStyle/>
        <a:p>
          <a:endParaRPr lang="en-US"/>
        </a:p>
      </dgm:t>
    </dgm:pt>
    <dgm:pt modelId="{C6637FEE-0FB3-4532-9487-5671AB3452D8}">
      <dgm:prSet phldrT="[Text]"/>
      <dgm:spPr>
        <a:solidFill>
          <a:srgbClr val="92D050"/>
        </a:solidFill>
        <a:ln w="12700"/>
      </dgm:spPr>
      <dgm:t>
        <a:bodyPr/>
        <a:lstStyle/>
        <a:p>
          <a:r>
            <a:rPr lang="en-US"/>
            <a:t>3T = 25%</a:t>
          </a:r>
        </a:p>
      </dgm:t>
    </dgm:pt>
    <dgm:pt modelId="{61CD98B8-BB6B-43E5-9694-D2D6A47291C4}" type="parTrans" cxnId="{E015E535-DCC8-4F8D-8133-EC70A53A424C}">
      <dgm:prSet/>
      <dgm:spPr>
        <a:ln w="12700"/>
      </dgm:spPr>
      <dgm:t>
        <a:bodyPr/>
        <a:lstStyle/>
        <a:p>
          <a:endParaRPr lang="en-US"/>
        </a:p>
      </dgm:t>
    </dgm:pt>
    <dgm:pt modelId="{9F79561A-1249-4B59-82E7-D6EB136C2D54}" type="sibTrans" cxnId="{E015E535-DCC8-4F8D-8133-EC70A53A424C}">
      <dgm:prSet/>
      <dgm:spPr/>
      <dgm:t>
        <a:bodyPr/>
        <a:lstStyle/>
        <a:p>
          <a:endParaRPr lang="en-US"/>
        </a:p>
      </dgm:t>
    </dgm:pt>
    <dgm:pt modelId="{C63AE13D-85E7-467D-AED1-013EEC04FE7D}">
      <dgm:prSet phldrT="[Text]"/>
      <dgm:spPr>
        <a:solidFill>
          <a:schemeClr val="accent1">
            <a:lumMod val="20000"/>
            <a:lumOff val="80000"/>
          </a:schemeClr>
        </a:solidFill>
        <a:ln w="12700"/>
      </dgm:spPr>
      <dgm:t>
        <a:bodyPr/>
        <a:lstStyle/>
        <a:p>
          <a:r>
            <a:rPr lang="en-US"/>
            <a:t>3F = 25%</a:t>
          </a:r>
        </a:p>
      </dgm:t>
    </dgm:pt>
    <dgm:pt modelId="{25DBA565-CA7D-43F7-B564-1B0823D4FE79}" type="parTrans" cxnId="{2BA70B5B-707F-4EBA-9FBB-175B1941E771}">
      <dgm:prSet/>
      <dgm:spPr>
        <a:ln w="12700"/>
      </dgm:spPr>
      <dgm:t>
        <a:bodyPr/>
        <a:lstStyle/>
        <a:p>
          <a:endParaRPr lang="en-US"/>
        </a:p>
      </dgm:t>
    </dgm:pt>
    <dgm:pt modelId="{A5D38088-E471-45CF-AD1A-233067B8677A}" type="sibTrans" cxnId="{2BA70B5B-707F-4EBA-9FBB-175B1941E771}">
      <dgm:prSet/>
      <dgm:spPr/>
      <dgm:t>
        <a:bodyPr/>
        <a:lstStyle/>
        <a:p>
          <a:endParaRPr lang="en-US"/>
        </a:p>
      </dgm:t>
    </dgm:pt>
    <dgm:pt modelId="{E8E97BA4-3E81-4BF2-B2BF-55FCE0202493}">
      <dgm:prSet phldrT="[Text]"/>
      <dgm:spPr>
        <a:solidFill>
          <a:schemeClr val="accent1">
            <a:lumMod val="20000"/>
            <a:lumOff val="80000"/>
          </a:schemeClr>
        </a:solidFill>
        <a:ln w="12700"/>
      </dgm:spPr>
      <dgm:t>
        <a:bodyPr/>
        <a:lstStyle/>
        <a:p>
          <a:r>
            <a:rPr lang="en-US" err="1"/>
            <a:t>Tjeneste</a:t>
          </a:r>
          <a:endParaRPr lang="en-US"/>
        </a:p>
      </dgm:t>
    </dgm:pt>
    <dgm:pt modelId="{82337CAD-4F84-4CAA-BE0A-F910E654E021}" type="sibTrans" cxnId="{D04A2E9C-DAAF-4F79-84F8-D463637627A1}">
      <dgm:prSet/>
      <dgm:spPr/>
      <dgm:t>
        <a:bodyPr/>
        <a:lstStyle/>
        <a:p>
          <a:endParaRPr lang="en-US"/>
        </a:p>
      </dgm:t>
    </dgm:pt>
    <dgm:pt modelId="{E0F2D951-7FB4-46EC-9AC0-17CD94E674E8}" type="parTrans" cxnId="{D04A2E9C-DAAF-4F79-84F8-D463637627A1}">
      <dgm:prSet/>
      <dgm:spPr>
        <a:ln w="12700"/>
      </dgm:spPr>
      <dgm:t>
        <a:bodyPr/>
        <a:lstStyle/>
        <a:p>
          <a:endParaRPr lang="en-US"/>
        </a:p>
      </dgm:t>
    </dgm:pt>
    <dgm:pt modelId="{421FE84E-E313-451F-953E-B3C36BC18FAE}">
      <dgm:prSet phldrT="[Text]"/>
      <dgm:spPr>
        <a:solidFill>
          <a:schemeClr val="accent3">
            <a:lumMod val="20000"/>
            <a:lumOff val="80000"/>
          </a:schemeClr>
        </a:solidFill>
        <a:ln w="12700"/>
      </dgm:spPr>
      <dgm:t>
        <a:bodyPr/>
        <a:lstStyle/>
        <a:p>
          <a:r>
            <a:rPr lang="en-US"/>
            <a:t>0 = 0%</a:t>
          </a:r>
        </a:p>
      </dgm:t>
    </dgm:pt>
    <dgm:pt modelId="{0FE0AC1B-BFC7-4CD1-ADE1-1E1DA45E6DCB}" type="parTrans" cxnId="{55E24F00-8B0A-4AB3-B451-4B1F63F5D288}">
      <dgm:prSet/>
      <dgm:spPr>
        <a:ln w="12700"/>
      </dgm:spPr>
      <dgm:t>
        <a:bodyPr/>
        <a:lstStyle/>
        <a:p>
          <a:endParaRPr lang="nb-NO"/>
        </a:p>
      </dgm:t>
    </dgm:pt>
    <dgm:pt modelId="{A39A2044-7A95-4E75-A0BE-560063127F7D}" type="sibTrans" cxnId="{55E24F00-8B0A-4AB3-B451-4B1F63F5D288}">
      <dgm:prSet/>
      <dgm:spPr/>
      <dgm:t>
        <a:bodyPr/>
        <a:lstStyle/>
        <a:p>
          <a:endParaRPr lang="nb-NO"/>
        </a:p>
      </dgm:t>
    </dgm:pt>
    <dgm:pt modelId="{D2867E43-37D7-408A-B4F5-FC01CB6C8F6C}">
      <dgm:prSet phldrT="[Text]" custT="1"/>
      <dgm:spPr>
        <a:solidFill>
          <a:srgbClr val="B6C8E9">
            <a:lumMod val="20000"/>
            <a:lumOff val="80000"/>
          </a:srgbClr>
        </a:solidFill>
        <a:ln w="12700" cap="flat" cmpd="sng" algn="ctr">
          <a:solidFill>
            <a:scrgbClr r="0" g="0" b="0"/>
          </a:solidFill>
          <a:prstDash val="solid"/>
        </a:ln>
        <a:effectLst/>
      </dgm:spPr>
      <dgm:t>
        <a:bodyPr spcFirstLastPara="0" vert="horz" wrap="square" lIns="9525" tIns="9525" rIns="9525" bIns="9525" numCol="1" spcCol="1270" anchor="ctr" anchorCtr="0"/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/>
              <a:ea typeface="+mn-ea"/>
              <a:cs typeface="+mn-cs"/>
            </a:rPr>
            <a:t>0 = 0%</a:t>
          </a:r>
        </a:p>
      </dgm:t>
    </dgm:pt>
    <dgm:pt modelId="{9A587C6F-F327-4560-88A4-DF880861B664}" type="parTrans" cxnId="{C4447B61-DBFE-43A6-9F80-BF7A12305C49}">
      <dgm:prSet/>
      <dgm:spPr>
        <a:ln w="12700"/>
      </dgm:spPr>
      <dgm:t>
        <a:bodyPr/>
        <a:lstStyle/>
        <a:p>
          <a:endParaRPr lang="nb-NO"/>
        </a:p>
      </dgm:t>
    </dgm:pt>
    <dgm:pt modelId="{DD9CDDEA-BD6B-4E58-A643-BAC1269E7CEF}" type="sibTrans" cxnId="{C4447B61-DBFE-43A6-9F80-BF7A12305C49}">
      <dgm:prSet/>
      <dgm:spPr/>
      <dgm:t>
        <a:bodyPr/>
        <a:lstStyle/>
        <a:p>
          <a:endParaRPr lang="nb-NO"/>
        </a:p>
      </dgm:t>
    </dgm:pt>
    <dgm:pt modelId="{D5D6806D-4546-485C-B52C-9C040D48B893}" type="pres">
      <dgm:prSet presAssocID="{A9D0601D-C30D-4A46-B353-97FCDE897D7B}" presName="diagram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B89F1F21-A5C4-45FE-B012-DA4D0B972B0B}" type="pres">
      <dgm:prSet presAssocID="{D375F5CE-A497-4D94-9390-5EE001E771C4}" presName="root1" presStyleCnt="0"/>
      <dgm:spPr/>
    </dgm:pt>
    <dgm:pt modelId="{0125BD50-D79D-4CC3-9755-0DA3E2D8E3FD}" type="pres">
      <dgm:prSet presAssocID="{D375F5CE-A497-4D94-9390-5EE001E771C4}" presName="LevelOneTextNode" presStyleLbl="node0" presStyleIdx="0" presStyleCnt="1" custLinFactNeighborX="-210" custLinFactNeighborY="-2251">
        <dgm:presLayoutVars>
          <dgm:chPref val="3"/>
        </dgm:presLayoutVars>
      </dgm:prSet>
      <dgm:spPr/>
    </dgm:pt>
    <dgm:pt modelId="{C0F8C703-F2D5-4D25-9D76-3B5B90F59A28}" type="pres">
      <dgm:prSet presAssocID="{D375F5CE-A497-4D94-9390-5EE001E771C4}" presName="level2hierChild" presStyleCnt="0"/>
      <dgm:spPr/>
    </dgm:pt>
    <dgm:pt modelId="{D93CA1E7-1E9E-40F3-BD60-501BD0921ADB}" type="pres">
      <dgm:prSet presAssocID="{779A652F-6E2E-448F-B989-231B13B490F9}" presName="conn2-1" presStyleLbl="parChTrans1D2" presStyleIdx="0" presStyleCnt="2"/>
      <dgm:spPr/>
    </dgm:pt>
    <dgm:pt modelId="{C445F999-041F-4752-9E41-2E18A531AD57}" type="pres">
      <dgm:prSet presAssocID="{779A652F-6E2E-448F-B989-231B13B490F9}" presName="connTx" presStyleLbl="parChTrans1D2" presStyleIdx="0" presStyleCnt="2"/>
      <dgm:spPr/>
    </dgm:pt>
    <dgm:pt modelId="{8B8CAF1F-38B0-4032-8798-86DFCF8F8F8D}" type="pres">
      <dgm:prSet presAssocID="{308731A1-30B3-44B7-8C14-ED5DEA652356}" presName="root2" presStyleCnt="0"/>
      <dgm:spPr/>
    </dgm:pt>
    <dgm:pt modelId="{18E32922-F51C-40B9-BC52-EAC7F334A273}" type="pres">
      <dgm:prSet presAssocID="{308731A1-30B3-44B7-8C14-ED5DEA652356}" presName="LevelTwoTextNode" presStyleLbl="node2" presStyleIdx="0" presStyleCnt="2">
        <dgm:presLayoutVars>
          <dgm:chPref val="3"/>
        </dgm:presLayoutVars>
      </dgm:prSet>
      <dgm:spPr/>
    </dgm:pt>
    <dgm:pt modelId="{D5702D07-435B-4D9D-BC30-F5CE4FF4F608}" type="pres">
      <dgm:prSet presAssocID="{308731A1-30B3-44B7-8C14-ED5DEA652356}" presName="level3hierChild" presStyleCnt="0"/>
      <dgm:spPr/>
    </dgm:pt>
    <dgm:pt modelId="{25A113C8-8072-43F9-89D4-9ED32583A830}" type="pres">
      <dgm:prSet presAssocID="{2271F7E3-6999-477A-9E6B-CE18D66C7D37}" presName="conn2-1" presStyleLbl="parChTrans1D3" presStyleIdx="0" presStyleCnt="4"/>
      <dgm:spPr/>
    </dgm:pt>
    <dgm:pt modelId="{B6A6DF98-94CC-4CDB-8912-43FA13112CF3}" type="pres">
      <dgm:prSet presAssocID="{2271F7E3-6999-477A-9E6B-CE18D66C7D37}" presName="connTx" presStyleLbl="parChTrans1D3" presStyleIdx="0" presStyleCnt="4"/>
      <dgm:spPr/>
    </dgm:pt>
    <dgm:pt modelId="{E18C6BC4-CAC3-4FD3-BFA7-3577D40E96B7}" type="pres">
      <dgm:prSet presAssocID="{8C22994A-6C87-4778-9604-B44579DA5A64}" presName="root2" presStyleCnt="0"/>
      <dgm:spPr/>
    </dgm:pt>
    <dgm:pt modelId="{03F1BF70-1109-4C0A-A4E7-965962B6CD26}" type="pres">
      <dgm:prSet presAssocID="{8C22994A-6C87-4778-9604-B44579DA5A64}" presName="LevelTwoTextNode" presStyleLbl="node3" presStyleIdx="0" presStyleCnt="4">
        <dgm:presLayoutVars>
          <dgm:chPref val="3"/>
        </dgm:presLayoutVars>
      </dgm:prSet>
      <dgm:spPr/>
    </dgm:pt>
    <dgm:pt modelId="{4A8CD520-4CD8-4242-B75E-1F8D61F2374C}" type="pres">
      <dgm:prSet presAssocID="{8C22994A-6C87-4778-9604-B44579DA5A64}" presName="level3hierChild" presStyleCnt="0"/>
      <dgm:spPr/>
    </dgm:pt>
    <dgm:pt modelId="{3A41823B-86F3-406F-A054-374247C2ECAB}" type="pres">
      <dgm:prSet presAssocID="{69E257A6-B7E3-4F77-BFE3-3104A96745D3}" presName="conn2-1" presStyleLbl="parChTrans1D4" presStyleIdx="0" presStyleCnt="6"/>
      <dgm:spPr/>
    </dgm:pt>
    <dgm:pt modelId="{C3E950BE-1303-4C53-AB68-D937916DB24A}" type="pres">
      <dgm:prSet presAssocID="{69E257A6-B7E3-4F77-BFE3-3104A96745D3}" presName="connTx" presStyleLbl="parChTrans1D4" presStyleIdx="0" presStyleCnt="6"/>
      <dgm:spPr/>
    </dgm:pt>
    <dgm:pt modelId="{79AEA70B-7B81-4B89-9A14-00EEA75B0DC0}" type="pres">
      <dgm:prSet presAssocID="{E34F46F6-202B-41D2-A438-F74B9032655E}" presName="root2" presStyleCnt="0"/>
      <dgm:spPr/>
    </dgm:pt>
    <dgm:pt modelId="{79A8959C-0267-4FB7-8B78-A9B4D9B32B12}" type="pres">
      <dgm:prSet presAssocID="{E34F46F6-202B-41D2-A438-F74B9032655E}" presName="LevelTwoTextNode" presStyleLbl="node4" presStyleIdx="0" presStyleCnt="6">
        <dgm:presLayoutVars>
          <dgm:chPref val="3"/>
        </dgm:presLayoutVars>
      </dgm:prSet>
      <dgm:spPr/>
    </dgm:pt>
    <dgm:pt modelId="{C4F6D3F2-ACCD-429D-B4C1-77BF1034DF7A}" type="pres">
      <dgm:prSet presAssocID="{E34F46F6-202B-41D2-A438-F74B9032655E}" presName="level3hierChild" presStyleCnt="0"/>
      <dgm:spPr/>
    </dgm:pt>
    <dgm:pt modelId="{547094B5-6C7F-4543-AC5F-6BB8797E1833}" type="pres">
      <dgm:prSet presAssocID="{0FE0AC1B-BFC7-4CD1-ADE1-1E1DA45E6DCB}" presName="conn2-1" presStyleLbl="parChTrans1D4" presStyleIdx="1" presStyleCnt="6"/>
      <dgm:spPr/>
    </dgm:pt>
    <dgm:pt modelId="{59EC2DE5-BDF2-4775-A244-9FF0B18A3C90}" type="pres">
      <dgm:prSet presAssocID="{0FE0AC1B-BFC7-4CD1-ADE1-1E1DA45E6DCB}" presName="connTx" presStyleLbl="parChTrans1D4" presStyleIdx="1" presStyleCnt="6"/>
      <dgm:spPr/>
    </dgm:pt>
    <dgm:pt modelId="{CC54CACD-6B01-4CA1-BAD9-0852ABE5D297}" type="pres">
      <dgm:prSet presAssocID="{421FE84E-E313-451F-953E-B3C36BC18FAE}" presName="root2" presStyleCnt="0"/>
      <dgm:spPr/>
    </dgm:pt>
    <dgm:pt modelId="{B850CD55-517E-4C23-963D-66006E75A232}" type="pres">
      <dgm:prSet presAssocID="{421FE84E-E313-451F-953E-B3C36BC18FAE}" presName="LevelTwoTextNode" presStyleLbl="node4" presStyleIdx="1" presStyleCnt="6">
        <dgm:presLayoutVars>
          <dgm:chPref val="3"/>
        </dgm:presLayoutVars>
      </dgm:prSet>
      <dgm:spPr/>
    </dgm:pt>
    <dgm:pt modelId="{29CBD5C1-89D6-455A-A421-473A02511FA7}" type="pres">
      <dgm:prSet presAssocID="{421FE84E-E313-451F-953E-B3C36BC18FAE}" presName="level3hierChild" presStyleCnt="0"/>
      <dgm:spPr/>
    </dgm:pt>
    <dgm:pt modelId="{E0A73A1B-2B97-45BA-8A57-D9AA1DC86B87}" type="pres">
      <dgm:prSet presAssocID="{50D4A3EC-0BEF-437A-885C-333ACB2621B0}" presName="conn2-1" presStyleLbl="parChTrans1D3" presStyleIdx="1" presStyleCnt="4"/>
      <dgm:spPr/>
    </dgm:pt>
    <dgm:pt modelId="{24301EE5-773A-4EC5-97F6-0F6283266BB0}" type="pres">
      <dgm:prSet presAssocID="{50D4A3EC-0BEF-437A-885C-333ACB2621B0}" presName="connTx" presStyleLbl="parChTrans1D3" presStyleIdx="1" presStyleCnt="4"/>
      <dgm:spPr/>
    </dgm:pt>
    <dgm:pt modelId="{962D2993-1380-4C76-8F42-BAD25244E043}" type="pres">
      <dgm:prSet presAssocID="{AA68AE02-CD46-4B96-BBDA-05B734CBAFE6}" presName="root2" presStyleCnt="0"/>
      <dgm:spPr/>
    </dgm:pt>
    <dgm:pt modelId="{FB5F17FA-01F3-4DCE-AFEF-3373A9A37BF6}" type="pres">
      <dgm:prSet presAssocID="{AA68AE02-CD46-4B96-BBDA-05B734CBAFE6}" presName="LevelTwoTextNode" presStyleLbl="node3" presStyleIdx="1" presStyleCnt="4">
        <dgm:presLayoutVars>
          <dgm:chPref val="3"/>
        </dgm:presLayoutVars>
      </dgm:prSet>
      <dgm:spPr/>
    </dgm:pt>
    <dgm:pt modelId="{22FEB322-5F0D-4D34-B738-D814B52298B0}" type="pres">
      <dgm:prSet presAssocID="{AA68AE02-CD46-4B96-BBDA-05B734CBAFE6}" presName="level3hierChild" presStyleCnt="0"/>
      <dgm:spPr/>
    </dgm:pt>
    <dgm:pt modelId="{40279CE7-C3F4-4DF6-A02A-837932E68076}" type="pres">
      <dgm:prSet presAssocID="{C7D2BF5F-2160-4F1B-B9A0-756EE86FBACD}" presName="conn2-1" presStyleLbl="parChTrans1D4" presStyleIdx="2" presStyleCnt="6"/>
      <dgm:spPr/>
    </dgm:pt>
    <dgm:pt modelId="{BE2E24FD-6A47-4483-91E5-04F976C4214A}" type="pres">
      <dgm:prSet presAssocID="{C7D2BF5F-2160-4F1B-B9A0-756EE86FBACD}" presName="connTx" presStyleLbl="parChTrans1D4" presStyleIdx="2" presStyleCnt="6"/>
      <dgm:spPr/>
    </dgm:pt>
    <dgm:pt modelId="{89A315E4-6F3C-4092-AD49-E3BB44110323}" type="pres">
      <dgm:prSet presAssocID="{ED397C4B-3FF8-43C7-AFB2-943BA49DFDFA}" presName="root2" presStyleCnt="0"/>
      <dgm:spPr/>
    </dgm:pt>
    <dgm:pt modelId="{35148660-7C1E-4AB3-94A2-9D39BDC2272C}" type="pres">
      <dgm:prSet presAssocID="{ED397C4B-3FF8-43C7-AFB2-943BA49DFDFA}" presName="LevelTwoTextNode" presStyleLbl="node4" presStyleIdx="2" presStyleCnt="6">
        <dgm:presLayoutVars>
          <dgm:chPref val="3"/>
        </dgm:presLayoutVars>
      </dgm:prSet>
      <dgm:spPr/>
    </dgm:pt>
    <dgm:pt modelId="{A5017805-8B03-4B07-A3F9-37DD0A3CC470}" type="pres">
      <dgm:prSet presAssocID="{ED397C4B-3FF8-43C7-AFB2-943BA49DFDFA}" presName="level3hierChild" presStyleCnt="0"/>
      <dgm:spPr/>
    </dgm:pt>
    <dgm:pt modelId="{06917447-A603-4E65-9FC2-D499E1F092C8}" type="pres">
      <dgm:prSet presAssocID="{E0F2D951-7FB4-46EC-9AC0-17CD94E674E8}" presName="conn2-1" presStyleLbl="parChTrans1D2" presStyleIdx="1" presStyleCnt="2"/>
      <dgm:spPr/>
    </dgm:pt>
    <dgm:pt modelId="{90E16EEE-6BA0-4943-8A4D-5314DC0B9FBE}" type="pres">
      <dgm:prSet presAssocID="{E0F2D951-7FB4-46EC-9AC0-17CD94E674E8}" presName="connTx" presStyleLbl="parChTrans1D2" presStyleIdx="1" presStyleCnt="2"/>
      <dgm:spPr/>
    </dgm:pt>
    <dgm:pt modelId="{6DB120CB-5862-4C84-9EE0-7CC842349CAA}" type="pres">
      <dgm:prSet presAssocID="{E8E97BA4-3E81-4BF2-B2BF-55FCE0202493}" presName="root2" presStyleCnt="0"/>
      <dgm:spPr/>
    </dgm:pt>
    <dgm:pt modelId="{12149BDC-7429-4A3D-9F11-5B0D56CBA094}" type="pres">
      <dgm:prSet presAssocID="{E8E97BA4-3E81-4BF2-B2BF-55FCE0202493}" presName="LevelTwoTextNode" presStyleLbl="node2" presStyleIdx="1" presStyleCnt="2">
        <dgm:presLayoutVars>
          <dgm:chPref val="3"/>
        </dgm:presLayoutVars>
      </dgm:prSet>
      <dgm:spPr/>
    </dgm:pt>
    <dgm:pt modelId="{6FAE81C0-1D60-470A-B84A-7706AD390F5C}" type="pres">
      <dgm:prSet presAssocID="{E8E97BA4-3E81-4BF2-B2BF-55FCE0202493}" presName="level3hierChild" presStyleCnt="0"/>
      <dgm:spPr/>
    </dgm:pt>
    <dgm:pt modelId="{4E210524-63B2-46BA-88BF-AC994F784DB7}" type="pres">
      <dgm:prSet presAssocID="{7A0A8722-618C-49BB-928E-90E432D27A95}" presName="conn2-1" presStyleLbl="parChTrans1D3" presStyleIdx="2" presStyleCnt="4"/>
      <dgm:spPr/>
    </dgm:pt>
    <dgm:pt modelId="{B066DAD5-171B-474A-8330-56773FC85091}" type="pres">
      <dgm:prSet presAssocID="{7A0A8722-618C-49BB-928E-90E432D27A95}" presName="connTx" presStyleLbl="parChTrans1D3" presStyleIdx="2" presStyleCnt="4"/>
      <dgm:spPr/>
    </dgm:pt>
    <dgm:pt modelId="{E1BF7480-514D-4BBC-8C02-FF501EC72357}" type="pres">
      <dgm:prSet presAssocID="{EBBD4A29-A00C-40FF-9EEF-029505AA1317}" presName="root2" presStyleCnt="0"/>
      <dgm:spPr/>
    </dgm:pt>
    <dgm:pt modelId="{4B83A63A-0E02-44BF-83A2-84E9F47A9FCB}" type="pres">
      <dgm:prSet presAssocID="{EBBD4A29-A00C-40FF-9EEF-029505AA1317}" presName="LevelTwoTextNode" presStyleLbl="node3" presStyleIdx="2" presStyleCnt="4">
        <dgm:presLayoutVars>
          <dgm:chPref val="3"/>
        </dgm:presLayoutVars>
      </dgm:prSet>
      <dgm:spPr/>
    </dgm:pt>
    <dgm:pt modelId="{53C778AB-D513-43E8-9094-A37BE14A6502}" type="pres">
      <dgm:prSet presAssocID="{EBBD4A29-A00C-40FF-9EEF-029505AA1317}" presName="level3hierChild" presStyleCnt="0"/>
      <dgm:spPr/>
    </dgm:pt>
    <dgm:pt modelId="{48694CCC-1391-4EF4-9C30-31C1DA88B29F}" type="pres">
      <dgm:prSet presAssocID="{61CD98B8-BB6B-43E5-9694-D2D6A47291C4}" presName="conn2-1" presStyleLbl="parChTrans1D4" presStyleIdx="3" presStyleCnt="6"/>
      <dgm:spPr/>
    </dgm:pt>
    <dgm:pt modelId="{BD0E8D62-2122-412C-9AD0-032836C7C172}" type="pres">
      <dgm:prSet presAssocID="{61CD98B8-BB6B-43E5-9694-D2D6A47291C4}" presName="connTx" presStyleLbl="parChTrans1D4" presStyleIdx="3" presStyleCnt="6"/>
      <dgm:spPr/>
    </dgm:pt>
    <dgm:pt modelId="{7C8C81E5-B911-4543-ADBE-CB66F38CB0E2}" type="pres">
      <dgm:prSet presAssocID="{C6637FEE-0FB3-4532-9487-5671AB3452D8}" presName="root2" presStyleCnt="0"/>
      <dgm:spPr/>
    </dgm:pt>
    <dgm:pt modelId="{2AB8D2D3-677E-4694-8286-F696A483FF85}" type="pres">
      <dgm:prSet presAssocID="{C6637FEE-0FB3-4532-9487-5671AB3452D8}" presName="LevelTwoTextNode" presStyleLbl="node4" presStyleIdx="3" presStyleCnt="6">
        <dgm:presLayoutVars>
          <dgm:chPref val="3"/>
        </dgm:presLayoutVars>
      </dgm:prSet>
      <dgm:spPr/>
    </dgm:pt>
    <dgm:pt modelId="{CD511D84-6B4F-46CC-9B36-2469AE1B882D}" type="pres">
      <dgm:prSet presAssocID="{C6637FEE-0FB3-4532-9487-5671AB3452D8}" presName="level3hierChild" presStyleCnt="0"/>
      <dgm:spPr/>
    </dgm:pt>
    <dgm:pt modelId="{27E3EA24-5491-4C95-B15E-8D978E94B454}" type="pres">
      <dgm:prSet presAssocID="{9A587C6F-F327-4560-88A4-DF880861B664}" presName="conn2-1" presStyleLbl="parChTrans1D4" presStyleIdx="4" presStyleCnt="6"/>
      <dgm:spPr/>
    </dgm:pt>
    <dgm:pt modelId="{F81488A8-249A-4C58-A816-17F7FF68234C}" type="pres">
      <dgm:prSet presAssocID="{9A587C6F-F327-4560-88A4-DF880861B664}" presName="connTx" presStyleLbl="parChTrans1D4" presStyleIdx="4" presStyleCnt="6"/>
      <dgm:spPr/>
    </dgm:pt>
    <dgm:pt modelId="{DAE8AA25-8834-4417-9FA7-7A01F7EADCD6}" type="pres">
      <dgm:prSet presAssocID="{D2867E43-37D7-408A-B4F5-FC01CB6C8F6C}" presName="root2" presStyleCnt="0"/>
      <dgm:spPr/>
    </dgm:pt>
    <dgm:pt modelId="{178EC08F-62C3-4A9B-846C-4004F31D9990}" type="pres">
      <dgm:prSet presAssocID="{D2867E43-37D7-408A-B4F5-FC01CB6C8F6C}" presName="LevelTwoTextNode" presStyleLbl="node4" presStyleIdx="4" presStyleCnt="6">
        <dgm:presLayoutVars>
          <dgm:chPref val="3"/>
        </dgm:presLayoutVars>
      </dgm:prSet>
      <dgm:spPr>
        <a:xfrm>
          <a:off x="6200204" y="3034241"/>
          <a:ext cx="1317935" cy="658967"/>
        </a:xfrm>
        <a:prstGeom prst="roundRect">
          <a:avLst>
            <a:gd name="adj" fmla="val 10000"/>
          </a:avLst>
        </a:prstGeom>
      </dgm:spPr>
    </dgm:pt>
    <dgm:pt modelId="{E00A53F2-FA40-4EAA-8529-202F2184AA0B}" type="pres">
      <dgm:prSet presAssocID="{D2867E43-37D7-408A-B4F5-FC01CB6C8F6C}" presName="level3hierChild" presStyleCnt="0"/>
      <dgm:spPr/>
    </dgm:pt>
    <dgm:pt modelId="{57389D64-B410-41EA-9260-CE8B946EA0F2}" type="pres">
      <dgm:prSet presAssocID="{9BCA0F40-571B-4379-BB74-2CD9E61040D1}" presName="conn2-1" presStyleLbl="parChTrans1D3" presStyleIdx="3" presStyleCnt="4"/>
      <dgm:spPr/>
    </dgm:pt>
    <dgm:pt modelId="{0D4F9AB2-F625-4395-B9AB-D2CF7AFF796D}" type="pres">
      <dgm:prSet presAssocID="{9BCA0F40-571B-4379-BB74-2CD9E61040D1}" presName="connTx" presStyleLbl="parChTrans1D3" presStyleIdx="3" presStyleCnt="4"/>
      <dgm:spPr/>
    </dgm:pt>
    <dgm:pt modelId="{FBFFF884-A697-425E-9FAC-5D374CEF1345}" type="pres">
      <dgm:prSet presAssocID="{DFDF8DFB-770E-4F5E-A138-A3CE78F2022C}" presName="root2" presStyleCnt="0"/>
      <dgm:spPr/>
    </dgm:pt>
    <dgm:pt modelId="{CDFF1039-143D-446D-B7BC-5E69F9DA949F}" type="pres">
      <dgm:prSet presAssocID="{DFDF8DFB-770E-4F5E-A138-A3CE78F2022C}" presName="LevelTwoTextNode" presStyleLbl="node3" presStyleIdx="3" presStyleCnt="4">
        <dgm:presLayoutVars>
          <dgm:chPref val="3"/>
        </dgm:presLayoutVars>
      </dgm:prSet>
      <dgm:spPr/>
    </dgm:pt>
    <dgm:pt modelId="{8E044F9F-9744-42DE-B4DD-2D6100F75D4E}" type="pres">
      <dgm:prSet presAssocID="{DFDF8DFB-770E-4F5E-A138-A3CE78F2022C}" presName="level3hierChild" presStyleCnt="0"/>
      <dgm:spPr/>
    </dgm:pt>
    <dgm:pt modelId="{3DA6CF82-27AE-47F7-A190-D0E2EE674A4B}" type="pres">
      <dgm:prSet presAssocID="{25DBA565-CA7D-43F7-B564-1B0823D4FE79}" presName="conn2-1" presStyleLbl="parChTrans1D4" presStyleIdx="5" presStyleCnt="6"/>
      <dgm:spPr/>
    </dgm:pt>
    <dgm:pt modelId="{FCF206FC-FFAC-4171-8617-45680857EA58}" type="pres">
      <dgm:prSet presAssocID="{25DBA565-CA7D-43F7-B564-1B0823D4FE79}" presName="connTx" presStyleLbl="parChTrans1D4" presStyleIdx="5" presStyleCnt="6"/>
      <dgm:spPr/>
    </dgm:pt>
    <dgm:pt modelId="{F2ACF549-3011-4E4E-9100-E390EF9D4BB1}" type="pres">
      <dgm:prSet presAssocID="{C63AE13D-85E7-467D-AED1-013EEC04FE7D}" presName="root2" presStyleCnt="0"/>
      <dgm:spPr/>
    </dgm:pt>
    <dgm:pt modelId="{ED277023-C623-43E2-861F-874ECECE1A17}" type="pres">
      <dgm:prSet presAssocID="{C63AE13D-85E7-467D-AED1-013EEC04FE7D}" presName="LevelTwoTextNode" presStyleLbl="node4" presStyleIdx="5" presStyleCnt="6">
        <dgm:presLayoutVars>
          <dgm:chPref val="3"/>
        </dgm:presLayoutVars>
      </dgm:prSet>
      <dgm:spPr/>
    </dgm:pt>
    <dgm:pt modelId="{6AC01DDD-5CFE-495B-9574-FEDDF84E2778}" type="pres">
      <dgm:prSet presAssocID="{C63AE13D-85E7-467D-AED1-013EEC04FE7D}" presName="level3hierChild" presStyleCnt="0"/>
      <dgm:spPr/>
    </dgm:pt>
  </dgm:ptLst>
  <dgm:cxnLst>
    <dgm:cxn modelId="{55E24F00-8B0A-4AB3-B451-4B1F63F5D288}" srcId="{8C22994A-6C87-4778-9604-B44579DA5A64}" destId="{421FE84E-E313-451F-953E-B3C36BC18FAE}" srcOrd="1" destOrd="0" parTransId="{0FE0AC1B-BFC7-4CD1-ADE1-1E1DA45E6DCB}" sibTransId="{A39A2044-7A95-4E75-A0BE-560063127F7D}"/>
    <dgm:cxn modelId="{35E0DF0B-7FC4-4057-8863-39AE33ED14A9}" srcId="{8C22994A-6C87-4778-9604-B44579DA5A64}" destId="{E34F46F6-202B-41D2-A438-F74B9032655E}" srcOrd="0" destOrd="0" parTransId="{69E257A6-B7E3-4F77-BFE3-3104A96745D3}" sibTransId="{AA118AAE-2995-46C1-8B41-F8783047C8A8}"/>
    <dgm:cxn modelId="{4BD8720F-4749-4222-92B5-D861E85886F1}" type="presOf" srcId="{2271F7E3-6999-477A-9E6B-CE18D66C7D37}" destId="{25A113C8-8072-43F9-89D4-9ED32583A830}" srcOrd="0" destOrd="0" presId="urn:microsoft.com/office/officeart/2005/8/layout/hierarchy2"/>
    <dgm:cxn modelId="{C19F540F-DE66-437F-A4B9-653F72C06A3E}" type="presOf" srcId="{9BCA0F40-571B-4379-BB74-2CD9E61040D1}" destId="{57389D64-B410-41EA-9260-CE8B946EA0F2}" srcOrd="0" destOrd="0" presId="urn:microsoft.com/office/officeart/2005/8/layout/hierarchy2"/>
    <dgm:cxn modelId="{D7BD4D10-FBE3-4B16-A7A0-3CE1FAFF557E}" type="presOf" srcId="{E34F46F6-202B-41D2-A438-F74B9032655E}" destId="{79A8959C-0267-4FB7-8B78-A9B4D9B32B12}" srcOrd="0" destOrd="0" presId="urn:microsoft.com/office/officeart/2005/8/layout/hierarchy2"/>
    <dgm:cxn modelId="{7902A634-A01A-4957-97B9-1ECE92752EBE}" type="presOf" srcId="{9A587C6F-F327-4560-88A4-DF880861B664}" destId="{F81488A8-249A-4C58-A816-17F7FF68234C}" srcOrd="1" destOrd="0" presId="urn:microsoft.com/office/officeart/2005/8/layout/hierarchy2"/>
    <dgm:cxn modelId="{E015E535-DCC8-4F8D-8133-EC70A53A424C}" srcId="{EBBD4A29-A00C-40FF-9EEF-029505AA1317}" destId="{C6637FEE-0FB3-4532-9487-5671AB3452D8}" srcOrd="0" destOrd="0" parTransId="{61CD98B8-BB6B-43E5-9694-D2D6A47291C4}" sibTransId="{9F79561A-1249-4B59-82E7-D6EB136C2D54}"/>
    <dgm:cxn modelId="{09BEC63E-C4F7-4129-9441-37C7065FDE88}" type="presOf" srcId="{25DBA565-CA7D-43F7-B564-1B0823D4FE79}" destId="{3DA6CF82-27AE-47F7-A190-D0E2EE674A4B}" srcOrd="0" destOrd="0" presId="urn:microsoft.com/office/officeart/2005/8/layout/hierarchy2"/>
    <dgm:cxn modelId="{45830640-FC47-4D19-8133-8AA0AFA4914A}" type="presOf" srcId="{0FE0AC1B-BFC7-4CD1-ADE1-1E1DA45E6DCB}" destId="{59EC2DE5-BDF2-4775-A244-9FF0B18A3C90}" srcOrd="1" destOrd="0" presId="urn:microsoft.com/office/officeart/2005/8/layout/hierarchy2"/>
    <dgm:cxn modelId="{2BA70B5B-707F-4EBA-9FBB-175B1941E771}" srcId="{DFDF8DFB-770E-4F5E-A138-A3CE78F2022C}" destId="{C63AE13D-85E7-467D-AED1-013EEC04FE7D}" srcOrd="0" destOrd="0" parTransId="{25DBA565-CA7D-43F7-B564-1B0823D4FE79}" sibTransId="{A5D38088-E471-45CF-AD1A-233067B8677A}"/>
    <dgm:cxn modelId="{CC77FA5E-8AED-424D-B203-68CB91B1F7DD}" type="presOf" srcId="{ED397C4B-3FF8-43C7-AFB2-943BA49DFDFA}" destId="{35148660-7C1E-4AB3-94A2-9D39BDC2272C}" srcOrd="0" destOrd="0" presId="urn:microsoft.com/office/officeart/2005/8/layout/hierarchy2"/>
    <dgm:cxn modelId="{C4447B61-DBFE-43A6-9F80-BF7A12305C49}" srcId="{EBBD4A29-A00C-40FF-9EEF-029505AA1317}" destId="{D2867E43-37D7-408A-B4F5-FC01CB6C8F6C}" srcOrd="1" destOrd="0" parTransId="{9A587C6F-F327-4560-88A4-DF880861B664}" sibTransId="{DD9CDDEA-BD6B-4E58-A643-BAC1269E7CEF}"/>
    <dgm:cxn modelId="{7C680B64-9C23-4EE7-BE7B-4E6C0ECA2044}" type="presOf" srcId="{61CD98B8-BB6B-43E5-9694-D2D6A47291C4}" destId="{BD0E8D62-2122-412C-9AD0-032836C7C172}" srcOrd="1" destOrd="0" presId="urn:microsoft.com/office/officeart/2005/8/layout/hierarchy2"/>
    <dgm:cxn modelId="{EAF3224C-F44C-4964-8A07-B35A2037A678}" type="presOf" srcId="{9BCA0F40-571B-4379-BB74-2CD9E61040D1}" destId="{0D4F9AB2-F625-4395-B9AB-D2CF7AFF796D}" srcOrd="1" destOrd="0" presId="urn:microsoft.com/office/officeart/2005/8/layout/hierarchy2"/>
    <dgm:cxn modelId="{70258D6D-6DE0-4EF4-967B-6FAAD293192F}" type="presOf" srcId="{E8E97BA4-3E81-4BF2-B2BF-55FCE0202493}" destId="{12149BDC-7429-4A3D-9F11-5B0D56CBA094}" srcOrd="0" destOrd="0" presId="urn:microsoft.com/office/officeart/2005/8/layout/hierarchy2"/>
    <dgm:cxn modelId="{CEDE3F71-D7B5-4C86-9C64-C53D9F09A762}" srcId="{E8E97BA4-3E81-4BF2-B2BF-55FCE0202493}" destId="{EBBD4A29-A00C-40FF-9EEF-029505AA1317}" srcOrd="0" destOrd="0" parTransId="{7A0A8722-618C-49BB-928E-90E432D27A95}" sibTransId="{5E35DC17-E949-4DB6-BD65-D665C3778283}"/>
    <dgm:cxn modelId="{7221D051-7A18-4DCF-9CAB-F831E19DEACE}" srcId="{308731A1-30B3-44B7-8C14-ED5DEA652356}" destId="{AA68AE02-CD46-4B96-BBDA-05B734CBAFE6}" srcOrd="1" destOrd="0" parTransId="{50D4A3EC-0BEF-437A-885C-333ACB2621B0}" sibTransId="{36B5CB08-036B-45C9-B10E-1C6C7002F38A}"/>
    <dgm:cxn modelId="{9D8DE354-1293-43BE-920C-B9D5CF115718}" type="presOf" srcId="{69E257A6-B7E3-4F77-BFE3-3104A96745D3}" destId="{3A41823B-86F3-406F-A054-374247C2ECAB}" srcOrd="0" destOrd="0" presId="urn:microsoft.com/office/officeart/2005/8/layout/hierarchy2"/>
    <dgm:cxn modelId="{BB49F375-5060-470A-AAC6-112E578717C2}" srcId="{AA68AE02-CD46-4B96-BBDA-05B734CBAFE6}" destId="{ED397C4B-3FF8-43C7-AFB2-943BA49DFDFA}" srcOrd="0" destOrd="0" parTransId="{C7D2BF5F-2160-4F1B-B9A0-756EE86FBACD}" sibTransId="{C76DA601-EA3F-4C9D-B814-35B50D7D03B6}"/>
    <dgm:cxn modelId="{14A4DC56-063D-4244-AA9A-31892096DA42}" type="presOf" srcId="{308731A1-30B3-44B7-8C14-ED5DEA652356}" destId="{18E32922-F51C-40B9-BC52-EAC7F334A273}" srcOrd="0" destOrd="0" presId="urn:microsoft.com/office/officeart/2005/8/layout/hierarchy2"/>
    <dgm:cxn modelId="{E470067D-B037-4802-B95C-2A7D4DBCF712}" type="presOf" srcId="{AA68AE02-CD46-4B96-BBDA-05B734CBAFE6}" destId="{FB5F17FA-01F3-4DCE-AFEF-3373A9A37BF6}" srcOrd="0" destOrd="0" presId="urn:microsoft.com/office/officeart/2005/8/layout/hierarchy2"/>
    <dgm:cxn modelId="{83DE6180-8B16-456A-8A79-EC10C7421FDC}" type="presOf" srcId="{9A587C6F-F327-4560-88A4-DF880861B664}" destId="{27E3EA24-5491-4C95-B15E-8D978E94B454}" srcOrd="0" destOrd="0" presId="urn:microsoft.com/office/officeart/2005/8/layout/hierarchy2"/>
    <dgm:cxn modelId="{A2257B81-FA1D-4135-BCB9-36EA5A858C6B}" type="presOf" srcId="{7A0A8722-618C-49BB-928E-90E432D27A95}" destId="{4E210524-63B2-46BA-88BF-AC994F784DB7}" srcOrd="0" destOrd="0" presId="urn:microsoft.com/office/officeart/2005/8/layout/hierarchy2"/>
    <dgm:cxn modelId="{DFBB5283-0426-4F72-8FCC-41B1D992F85E}" type="presOf" srcId="{50D4A3EC-0BEF-437A-885C-333ACB2621B0}" destId="{24301EE5-773A-4EC5-97F6-0F6283266BB0}" srcOrd="1" destOrd="0" presId="urn:microsoft.com/office/officeart/2005/8/layout/hierarchy2"/>
    <dgm:cxn modelId="{B34AF989-653A-4053-8A67-FB80ABDC5948}" type="presOf" srcId="{69E257A6-B7E3-4F77-BFE3-3104A96745D3}" destId="{C3E950BE-1303-4C53-AB68-D937916DB24A}" srcOrd="1" destOrd="0" presId="urn:microsoft.com/office/officeart/2005/8/layout/hierarchy2"/>
    <dgm:cxn modelId="{45BA5493-DBB0-4C3F-8839-5D200367D1DA}" type="presOf" srcId="{0FE0AC1B-BFC7-4CD1-ADE1-1E1DA45E6DCB}" destId="{547094B5-6C7F-4543-AC5F-6BB8797E1833}" srcOrd="0" destOrd="0" presId="urn:microsoft.com/office/officeart/2005/8/layout/hierarchy2"/>
    <dgm:cxn modelId="{4A941F94-6128-4426-BDBB-408FC785D553}" type="presOf" srcId="{779A652F-6E2E-448F-B989-231B13B490F9}" destId="{C445F999-041F-4752-9E41-2E18A531AD57}" srcOrd="1" destOrd="0" presId="urn:microsoft.com/office/officeart/2005/8/layout/hierarchy2"/>
    <dgm:cxn modelId="{B41D8794-1082-4A92-8815-C4264E68B6D9}" type="presOf" srcId="{25DBA565-CA7D-43F7-B564-1B0823D4FE79}" destId="{FCF206FC-FFAC-4171-8617-45680857EA58}" srcOrd="1" destOrd="0" presId="urn:microsoft.com/office/officeart/2005/8/layout/hierarchy2"/>
    <dgm:cxn modelId="{EB48CA96-1F34-4F7E-8754-EAEBDF369E44}" type="presOf" srcId="{61CD98B8-BB6B-43E5-9694-D2D6A47291C4}" destId="{48694CCC-1391-4EF4-9C30-31C1DA88B29F}" srcOrd="0" destOrd="0" presId="urn:microsoft.com/office/officeart/2005/8/layout/hierarchy2"/>
    <dgm:cxn modelId="{27319598-1993-46B4-8DD4-7C44179FAB1B}" type="presOf" srcId="{7A0A8722-618C-49BB-928E-90E432D27A95}" destId="{B066DAD5-171B-474A-8330-56773FC85091}" srcOrd="1" destOrd="0" presId="urn:microsoft.com/office/officeart/2005/8/layout/hierarchy2"/>
    <dgm:cxn modelId="{27B9C99B-10A2-4803-9CA1-40F65D5D8D05}" srcId="{308731A1-30B3-44B7-8C14-ED5DEA652356}" destId="{8C22994A-6C87-4778-9604-B44579DA5A64}" srcOrd="0" destOrd="0" parTransId="{2271F7E3-6999-477A-9E6B-CE18D66C7D37}" sibTransId="{1AB1CF33-DBFD-4FA1-B515-195918D7E4D1}"/>
    <dgm:cxn modelId="{D04A2E9C-DAAF-4F79-84F8-D463637627A1}" srcId="{D375F5CE-A497-4D94-9390-5EE001E771C4}" destId="{E8E97BA4-3E81-4BF2-B2BF-55FCE0202493}" srcOrd="1" destOrd="0" parTransId="{E0F2D951-7FB4-46EC-9AC0-17CD94E674E8}" sibTransId="{82337CAD-4F84-4CAA-BE0A-F910E654E021}"/>
    <dgm:cxn modelId="{D655CD9E-5385-44AA-AFD7-3FAAEA269173}" type="presOf" srcId="{779A652F-6E2E-448F-B989-231B13B490F9}" destId="{D93CA1E7-1E9E-40F3-BD60-501BD0921ADB}" srcOrd="0" destOrd="0" presId="urn:microsoft.com/office/officeart/2005/8/layout/hierarchy2"/>
    <dgm:cxn modelId="{F2144CA0-B2A1-46B8-BB0B-D3F1E2B47504}" srcId="{D375F5CE-A497-4D94-9390-5EE001E771C4}" destId="{308731A1-30B3-44B7-8C14-ED5DEA652356}" srcOrd="0" destOrd="0" parTransId="{779A652F-6E2E-448F-B989-231B13B490F9}" sibTransId="{CB08FA17-C73C-49DE-A0C2-523942C96612}"/>
    <dgm:cxn modelId="{BD23F2A7-4F4A-4CC4-BEB0-1437C0F0AA42}" type="presOf" srcId="{C7D2BF5F-2160-4F1B-B9A0-756EE86FBACD}" destId="{40279CE7-C3F4-4DF6-A02A-837932E68076}" srcOrd="0" destOrd="0" presId="urn:microsoft.com/office/officeart/2005/8/layout/hierarchy2"/>
    <dgm:cxn modelId="{D6EE87AC-BC16-48AE-9C2E-6AFF4A37DD3B}" type="presOf" srcId="{DFDF8DFB-770E-4F5E-A138-A3CE78F2022C}" destId="{CDFF1039-143D-446D-B7BC-5E69F9DA949F}" srcOrd="0" destOrd="0" presId="urn:microsoft.com/office/officeart/2005/8/layout/hierarchy2"/>
    <dgm:cxn modelId="{DEF7E5C2-9ED3-48B8-B680-F3F9D2305E01}" type="presOf" srcId="{8C22994A-6C87-4778-9604-B44579DA5A64}" destId="{03F1BF70-1109-4C0A-A4E7-965962B6CD26}" srcOrd="0" destOrd="0" presId="urn:microsoft.com/office/officeart/2005/8/layout/hierarchy2"/>
    <dgm:cxn modelId="{68D4EFC9-51F6-437A-92D6-6AABE517833D}" type="presOf" srcId="{C63AE13D-85E7-467D-AED1-013EEC04FE7D}" destId="{ED277023-C623-43E2-861F-874ECECE1A17}" srcOrd="0" destOrd="0" presId="urn:microsoft.com/office/officeart/2005/8/layout/hierarchy2"/>
    <dgm:cxn modelId="{B2B7F5D2-3D89-4473-9130-04D479A98EA9}" type="presOf" srcId="{E0F2D951-7FB4-46EC-9AC0-17CD94E674E8}" destId="{90E16EEE-6BA0-4943-8A4D-5314DC0B9FBE}" srcOrd="1" destOrd="0" presId="urn:microsoft.com/office/officeart/2005/8/layout/hierarchy2"/>
    <dgm:cxn modelId="{CBB82CD3-1F37-4769-B5BD-8753504A3284}" type="presOf" srcId="{50D4A3EC-0BEF-437A-885C-333ACB2621B0}" destId="{E0A73A1B-2B97-45BA-8A57-D9AA1DC86B87}" srcOrd="0" destOrd="0" presId="urn:microsoft.com/office/officeart/2005/8/layout/hierarchy2"/>
    <dgm:cxn modelId="{801F48D6-E2FC-4772-A1EA-58CBD12167FA}" srcId="{A9D0601D-C30D-4A46-B353-97FCDE897D7B}" destId="{D375F5CE-A497-4D94-9390-5EE001E771C4}" srcOrd="0" destOrd="0" parTransId="{28ED2A10-62B8-4F91-A0D5-E8DDD577CF53}" sibTransId="{A4C253F0-248F-4B08-8EFE-AF7FA629F822}"/>
    <dgm:cxn modelId="{5879D3D8-35FB-4ED2-9DAD-A2B40B4D4162}" type="presOf" srcId="{C7D2BF5F-2160-4F1B-B9A0-756EE86FBACD}" destId="{BE2E24FD-6A47-4483-91E5-04F976C4214A}" srcOrd="1" destOrd="0" presId="urn:microsoft.com/office/officeart/2005/8/layout/hierarchy2"/>
    <dgm:cxn modelId="{D3140FDA-DE1C-4902-B265-40270A57E780}" type="presOf" srcId="{C6637FEE-0FB3-4532-9487-5671AB3452D8}" destId="{2AB8D2D3-677E-4694-8286-F696A483FF85}" srcOrd="0" destOrd="0" presId="urn:microsoft.com/office/officeart/2005/8/layout/hierarchy2"/>
    <dgm:cxn modelId="{0BA736E6-133F-46A1-8D69-E87DEFBC1250}" type="presOf" srcId="{D375F5CE-A497-4D94-9390-5EE001E771C4}" destId="{0125BD50-D79D-4CC3-9755-0DA3E2D8E3FD}" srcOrd="0" destOrd="0" presId="urn:microsoft.com/office/officeart/2005/8/layout/hierarchy2"/>
    <dgm:cxn modelId="{764857E7-8073-4439-BD6B-DD0F379A4646}" type="presOf" srcId="{EBBD4A29-A00C-40FF-9EEF-029505AA1317}" destId="{4B83A63A-0E02-44BF-83A2-84E9F47A9FCB}" srcOrd="0" destOrd="0" presId="urn:microsoft.com/office/officeart/2005/8/layout/hierarchy2"/>
    <dgm:cxn modelId="{E1A500E9-51F3-4913-B604-DE042553A70E}" type="presOf" srcId="{2271F7E3-6999-477A-9E6B-CE18D66C7D37}" destId="{B6A6DF98-94CC-4CDB-8912-43FA13112CF3}" srcOrd="1" destOrd="0" presId="urn:microsoft.com/office/officeart/2005/8/layout/hierarchy2"/>
    <dgm:cxn modelId="{BC17D1E9-DA7E-41AF-9EAA-6DCBE5CA7629}" srcId="{E8E97BA4-3E81-4BF2-B2BF-55FCE0202493}" destId="{DFDF8DFB-770E-4F5E-A138-A3CE78F2022C}" srcOrd="1" destOrd="0" parTransId="{9BCA0F40-571B-4379-BB74-2CD9E61040D1}" sibTransId="{A0709CB2-193D-4FF2-A1FE-0AA21646369B}"/>
    <dgm:cxn modelId="{84A05EF3-0CE0-45E0-9CE6-F5A7C0A5FDCD}" type="presOf" srcId="{421FE84E-E313-451F-953E-B3C36BC18FAE}" destId="{B850CD55-517E-4C23-963D-66006E75A232}" srcOrd="0" destOrd="0" presId="urn:microsoft.com/office/officeart/2005/8/layout/hierarchy2"/>
    <dgm:cxn modelId="{382466F3-AF66-4DEC-9231-F18BBE40903F}" type="presOf" srcId="{E0F2D951-7FB4-46EC-9AC0-17CD94E674E8}" destId="{06917447-A603-4E65-9FC2-D499E1F092C8}" srcOrd="0" destOrd="0" presId="urn:microsoft.com/office/officeart/2005/8/layout/hierarchy2"/>
    <dgm:cxn modelId="{F756B7F7-BF80-4770-BECE-4416400437B3}" type="presOf" srcId="{D2867E43-37D7-408A-B4F5-FC01CB6C8F6C}" destId="{178EC08F-62C3-4A9B-846C-4004F31D9990}" srcOrd="0" destOrd="0" presId="urn:microsoft.com/office/officeart/2005/8/layout/hierarchy2"/>
    <dgm:cxn modelId="{5226ACFA-CE71-4A07-AD3C-6C96CCC85440}" type="presOf" srcId="{A9D0601D-C30D-4A46-B353-97FCDE897D7B}" destId="{D5D6806D-4546-485C-B52C-9C040D48B893}" srcOrd="0" destOrd="0" presId="urn:microsoft.com/office/officeart/2005/8/layout/hierarchy2"/>
    <dgm:cxn modelId="{FCDCC9FB-E691-49A5-A29A-FE2DF3EA13E7}" type="presParOf" srcId="{D5D6806D-4546-485C-B52C-9C040D48B893}" destId="{B89F1F21-A5C4-45FE-B012-DA4D0B972B0B}" srcOrd="0" destOrd="0" presId="urn:microsoft.com/office/officeart/2005/8/layout/hierarchy2"/>
    <dgm:cxn modelId="{EC409B56-33D1-4C48-AF7E-A89EFDD083FE}" type="presParOf" srcId="{B89F1F21-A5C4-45FE-B012-DA4D0B972B0B}" destId="{0125BD50-D79D-4CC3-9755-0DA3E2D8E3FD}" srcOrd="0" destOrd="0" presId="urn:microsoft.com/office/officeart/2005/8/layout/hierarchy2"/>
    <dgm:cxn modelId="{CD538CEC-E919-4F3C-9CA7-0F6B996639F3}" type="presParOf" srcId="{B89F1F21-A5C4-45FE-B012-DA4D0B972B0B}" destId="{C0F8C703-F2D5-4D25-9D76-3B5B90F59A28}" srcOrd="1" destOrd="0" presId="urn:microsoft.com/office/officeart/2005/8/layout/hierarchy2"/>
    <dgm:cxn modelId="{0A7E7ABF-0DBC-4DFB-81DE-3EAF1B2CBF7C}" type="presParOf" srcId="{C0F8C703-F2D5-4D25-9D76-3B5B90F59A28}" destId="{D93CA1E7-1E9E-40F3-BD60-501BD0921ADB}" srcOrd="0" destOrd="0" presId="urn:microsoft.com/office/officeart/2005/8/layout/hierarchy2"/>
    <dgm:cxn modelId="{A920213D-2B22-49A9-A283-469A97088A55}" type="presParOf" srcId="{D93CA1E7-1E9E-40F3-BD60-501BD0921ADB}" destId="{C445F999-041F-4752-9E41-2E18A531AD57}" srcOrd="0" destOrd="0" presId="urn:microsoft.com/office/officeart/2005/8/layout/hierarchy2"/>
    <dgm:cxn modelId="{E06C853C-9B5E-43A4-A86A-1EAC05A9308A}" type="presParOf" srcId="{C0F8C703-F2D5-4D25-9D76-3B5B90F59A28}" destId="{8B8CAF1F-38B0-4032-8798-86DFCF8F8F8D}" srcOrd="1" destOrd="0" presId="urn:microsoft.com/office/officeart/2005/8/layout/hierarchy2"/>
    <dgm:cxn modelId="{20321EBB-9A06-4C35-82CD-3A38433AEF2E}" type="presParOf" srcId="{8B8CAF1F-38B0-4032-8798-86DFCF8F8F8D}" destId="{18E32922-F51C-40B9-BC52-EAC7F334A273}" srcOrd="0" destOrd="0" presId="urn:microsoft.com/office/officeart/2005/8/layout/hierarchy2"/>
    <dgm:cxn modelId="{7C6A5902-92A3-4BA4-B241-8C7AFFE09711}" type="presParOf" srcId="{8B8CAF1F-38B0-4032-8798-86DFCF8F8F8D}" destId="{D5702D07-435B-4D9D-BC30-F5CE4FF4F608}" srcOrd="1" destOrd="0" presId="urn:microsoft.com/office/officeart/2005/8/layout/hierarchy2"/>
    <dgm:cxn modelId="{7E356CD9-C1CB-4768-A5F3-8EB7D0794707}" type="presParOf" srcId="{D5702D07-435B-4D9D-BC30-F5CE4FF4F608}" destId="{25A113C8-8072-43F9-89D4-9ED32583A830}" srcOrd="0" destOrd="0" presId="urn:microsoft.com/office/officeart/2005/8/layout/hierarchy2"/>
    <dgm:cxn modelId="{599F8BAC-A203-4816-94BC-6B7D019C0AC9}" type="presParOf" srcId="{25A113C8-8072-43F9-89D4-9ED32583A830}" destId="{B6A6DF98-94CC-4CDB-8912-43FA13112CF3}" srcOrd="0" destOrd="0" presId="urn:microsoft.com/office/officeart/2005/8/layout/hierarchy2"/>
    <dgm:cxn modelId="{2481C1A2-AA83-4477-AC3E-2F7311C3070D}" type="presParOf" srcId="{D5702D07-435B-4D9D-BC30-F5CE4FF4F608}" destId="{E18C6BC4-CAC3-4FD3-BFA7-3577D40E96B7}" srcOrd="1" destOrd="0" presId="urn:microsoft.com/office/officeart/2005/8/layout/hierarchy2"/>
    <dgm:cxn modelId="{8A5674DE-A27F-451E-A717-C94E5746847B}" type="presParOf" srcId="{E18C6BC4-CAC3-4FD3-BFA7-3577D40E96B7}" destId="{03F1BF70-1109-4C0A-A4E7-965962B6CD26}" srcOrd="0" destOrd="0" presId="urn:microsoft.com/office/officeart/2005/8/layout/hierarchy2"/>
    <dgm:cxn modelId="{2B9234A5-D5FA-4776-BD53-FB2496208732}" type="presParOf" srcId="{E18C6BC4-CAC3-4FD3-BFA7-3577D40E96B7}" destId="{4A8CD520-4CD8-4242-B75E-1F8D61F2374C}" srcOrd="1" destOrd="0" presId="urn:microsoft.com/office/officeart/2005/8/layout/hierarchy2"/>
    <dgm:cxn modelId="{8D67237E-4B34-4295-8F5B-94A86895797E}" type="presParOf" srcId="{4A8CD520-4CD8-4242-B75E-1F8D61F2374C}" destId="{3A41823B-86F3-406F-A054-374247C2ECAB}" srcOrd="0" destOrd="0" presId="urn:microsoft.com/office/officeart/2005/8/layout/hierarchy2"/>
    <dgm:cxn modelId="{893F3536-D6C5-4B6B-A44B-D6A6775CE6D7}" type="presParOf" srcId="{3A41823B-86F3-406F-A054-374247C2ECAB}" destId="{C3E950BE-1303-4C53-AB68-D937916DB24A}" srcOrd="0" destOrd="0" presId="urn:microsoft.com/office/officeart/2005/8/layout/hierarchy2"/>
    <dgm:cxn modelId="{04B78349-5A00-49F7-8541-18F584FFD543}" type="presParOf" srcId="{4A8CD520-4CD8-4242-B75E-1F8D61F2374C}" destId="{79AEA70B-7B81-4B89-9A14-00EEA75B0DC0}" srcOrd="1" destOrd="0" presId="urn:microsoft.com/office/officeart/2005/8/layout/hierarchy2"/>
    <dgm:cxn modelId="{250B9240-D275-4009-85A5-74C4645D7AD8}" type="presParOf" srcId="{79AEA70B-7B81-4B89-9A14-00EEA75B0DC0}" destId="{79A8959C-0267-4FB7-8B78-A9B4D9B32B12}" srcOrd="0" destOrd="0" presId="urn:microsoft.com/office/officeart/2005/8/layout/hierarchy2"/>
    <dgm:cxn modelId="{B0E0EF1A-5EDB-4C74-8479-FDE7F81CE18E}" type="presParOf" srcId="{79AEA70B-7B81-4B89-9A14-00EEA75B0DC0}" destId="{C4F6D3F2-ACCD-429D-B4C1-77BF1034DF7A}" srcOrd="1" destOrd="0" presId="urn:microsoft.com/office/officeart/2005/8/layout/hierarchy2"/>
    <dgm:cxn modelId="{4DD6134E-D927-4100-BB49-CB830BC83645}" type="presParOf" srcId="{4A8CD520-4CD8-4242-B75E-1F8D61F2374C}" destId="{547094B5-6C7F-4543-AC5F-6BB8797E1833}" srcOrd="2" destOrd="0" presId="urn:microsoft.com/office/officeart/2005/8/layout/hierarchy2"/>
    <dgm:cxn modelId="{2AF64E56-B481-4533-BDE3-7189F8D4A6FA}" type="presParOf" srcId="{547094B5-6C7F-4543-AC5F-6BB8797E1833}" destId="{59EC2DE5-BDF2-4775-A244-9FF0B18A3C90}" srcOrd="0" destOrd="0" presId="urn:microsoft.com/office/officeart/2005/8/layout/hierarchy2"/>
    <dgm:cxn modelId="{507310EC-CF5B-40AE-B59F-06C9BAA799D2}" type="presParOf" srcId="{4A8CD520-4CD8-4242-B75E-1F8D61F2374C}" destId="{CC54CACD-6B01-4CA1-BAD9-0852ABE5D297}" srcOrd="3" destOrd="0" presId="urn:microsoft.com/office/officeart/2005/8/layout/hierarchy2"/>
    <dgm:cxn modelId="{430E07C4-AF5C-4189-B8E7-08A766E7304B}" type="presParOf" srcId="{CC54CACD-6B01-4CA1-BAD9-0852ABE5D297}" destId="{B850CD55-517E-4C23-963D-66006E75A232}" srcOrd="0" destOrd="0" presId="urn:microsoft.com/office/officeart/2005/8/layout/hierarchy2"/>
    <dgm:cxn modelId="{E5CFB632-87A5-461C-8597-24E294ABAB41}" type="presParOf" srcId="{CC54CACD-6B01-4CA1-BAD9-0852ABE5D297}" destId="{29CBD5C1-89D6-455A-A421-473A02511FA7}" srcOrd="1" destOrd="0" presId="urn:microsoft.com/office/officeart/2005/8/layout/hierarchy2"/>
    <dgm:cxn modelId="{C9D17B06-619B-40C0-ADA3-F637679F8EAD}" type="presParOf" srcId="{D5702D07-435B-4D9D-BC30-F5CE4FF4F608}" destId="{E0A73A1B-2B97-45BA-8A57-D9AA1DC86B87}" srcOrd="2" destOrd="0" presId="urn:microsoft.com/office/officeart/2005/8/layout/hierarchy2"/>
    <dgm:cxn modelId="{B6A90DBE-CAAF-4823-BDA6-92CD614976A3}" type="presParOf" srcId="{E0A73A1B-2B97-45BA-8A57-D9AA1DC86B87}" destId="{24301EE5-773A-4EC5-97F6-0F6283266BB0}" srcOrd="0" destOrd="0" presId="urn:microsoft.com/office/officeart/2005/8/layout/hierarchy2"/>
    <dgm:cxn modelId="{4DF8DC3F-084D-4C4A-BEE7-EDD9F890842B}" type="presParOf" srcId="{D5702D07-435B-4D9D-BC30-F5CE4FF4F608}" destId="{962D2993-1380-4C76-8F42-BAD25244E043}" srcOrd="3" destOrd="0" presId="urn:microsoft.com/office/officeart/2005/8/layout/hierarchy2"/>
    <dgm:cxn modelId="{0FC27E72-275B-416B-8F3A-405A60B7AEF4}" type="presParOf" srcId="{962D2993-1380-4C76-8F42-BAD25244E043}" destId="{FB5F17FA-01F3-4DCE-AFEF-3373A9A37BF6}" srcOrd="0" destOrd="0" presId="urn:microsoft.com/office/officeart/2005/8/layout/hierarchy2"/>
    <dgm:cxn modelId="{0906C611-E6F5-453E-BCFB-B39AAB1BCA47}" type="presParOf" srcId="{962D2993-1380-4C76-8F42-BAD25244E043}" destId="{22FEB322-5F0D-4D34-B738-D814B52298B0}" srcOrd="1" destOrd="0" presId="urn:microsoft.com/office/officeart/2005/8/layout/hierarchy2"/>
    <dgm:cxn modelId="{0B9A1649-8133-400C-ACD2-60698192BBF4}" type="presParOf" srcId="{22FEB322-5F0D-4D34-B738-D814B52298B0}" destId="{40279CE7-C3F4-4DF6-A02A-837932E68076}" srcOrd="0" destOrd="0" presId="urn:microsoft.com/office/officeart/2005/8/layout/hierarchy2"/>
    <dgm:cxn modelId="{B5B136B9-3BFB-4275-BD09-DEA152FD209C}" type="presParOf" srcId="{40279CE7-C3F4-4DF6-A02A-837932E68076}" destId="{BE2E24FD-6A47-4483-91E5-04F976C4214A}" srcOrd="0" destOrd="0" presId="urn:microsoft.com/office/officeart/2005/8/layout/hierarchy2"/>
    <dgm:cxn modelId="{8DDA8208-F728-447C-9809-1C4CFC57761F}" type="presParOf" srcId="{22FEB322-5F0D-4D34-B738-D814B52298B0}" destId="{89A315E4-6F3C-4092-AD49-E3BB44110323}" srcOrd="1" destOrd="0" presId="urn:microsoft.com/office/officeart/2005/8/layout/hierarchy2"/>
    <dgm:cxn modelId="{F7A7EFA6-C5AA-45E9-A957-8C7D87E00CDC}" type="presParOf" srcId="{89A315E4-6F3C-4092-AD49-E3BB44110323}" destId="{35148660-7C1E-4AB3-94A2-9D39BDC2272C}" srcOrd="0" destOrd="0" presId="urn:microsoft.com/office/officeart/2005/8/layout/hierarchy2"/>
    <dgm:cxn modelId="{B1ACF76A-D0D7-404C-A877-60790488A89C}" type="presParOf" srcId="{89A315E4-6F3C-4092-AD49-E3BB44110323}" destId="{A5017805-8B03-4B07-A3F9-37DD0A3CC470}" srcOrd="1" destOrd="0" presId="urn:microsoft.com/office/officeart/2005/8/layout/hierarchy2"/>
    <dgm:cxn modelId="{295D9E1F-5258-49C3-9E69-91094B90C57B}" type="presParOf" srcId="{C0F8C703-F2D5-4D25-9D76-3B5B90F59A28}" destId="{06917447-A603-4E65-9FC2-D499E1F092C8}" srcOrd="2" destOrd="0" presId="urn:microsoft.com/office/officeart/2005/8/layout/hierarchy2"/>
    <dgm:cxn modelId="{396B4DC9-1A52-46AA-A9DA-2EDF5B0799CA}" type="presParOf" srcId="{06917447-A603-4E65-9FC2-D499E1F092C8}" destId="{90E16EEE-6BA0-4943-8A4D-5314DC0B9FBE}" srcOrd="0" destOrd="0" presId="urn:microsoft.com/office/officeart/2005/8/layout/hierarchy2"/>
    <dgm:cxn modelId="{DA5FA48F-84D2-4E96-94C3-ED040AF50CEC}" type="presParOf" srcId="{C0F8C703-F2D5-4D25-9D76-3B5B90F59A28}" destId="{6DB120CB-5862-4C84-9EE0-7CC842349CAA}" srcOrd="3" destOrd="0" presId="urn:microsoft.com/office/officeart/2005/8/layout/hierarchy2"/>
    <dgm:cxn modelId="{328DE237-ED61-4F71-BE80-207F403901CD}" type="presParOf" srcId="{6DB120CB-5862-4C84-9EE0-7CC842349CAA}" destId="{12149BDC-7429-4A3D-9F11-5B0D56CBA094}" srcOrd="0" destOrd="0" presId="urn:microsoft.com/office/officeart/2005/8/layout/hierarchy2"/>
    <dgm:cxn modelId="{716E3033-7B10-4431-B047-CF58AFDA24DA}" type="presParOf" srcId="{6DB120CB-5862-4C84-9EE0-7CC842349CAA}" destId="{6FAE81C0-1D60-470A-B84A-7706AD390F5C}" srcOrd="1" destOrd="0" presId="urn:microsoft.com/office/officeart/2005/8/layout/hierarchy2"/>
    <dgm:cxn modelId="{556FD990-7AF4-454C-9976-3FAA1853236A}" type="presParOf" srcId="{6FAE81C0-1D60-470A-B84A-7706AD390F5C}" destId="{4E210524-63B2-46BA-88BF-AC994F784DB7}" srcOrd="0" destOrd="0" presId="urn:microsoft.com/office/officeart/2005/8/layout/hierarchy2"/>
    <dgm:cxn modelId="{8744896B-2413-4C75-914D-A50C4360603E}" type="presParOf" srcId="{4E210524-63B2-46BA-88BF-AC994F784DB7}" destId="{B066DAD5-171B-474A-8330-56773FC85091}" srcOrd="0" destOrd="0" presId="urn:microsoft.com/office/officeart/2005/8/layout/hierarchy2"/>
    <dgm:cxn modelId="{2CC63A54-640B-4624-9AAE-540219CA5A37}" type="presParOf" srcId="{6FAE81C0-1D60-470A-B84A-7706AD390F5C}" destId="{E1BF7480-514D-4BBC-8C02-FF501EC72357}" srcOrd="1" destOrd="0" presId="urn:microsoft.com/office/officeart/2005/8/layout/hierarchy2"/>
    <dgm:cxn modelId="{E89E9ABA-5B54-43D1-809F-66EC3388542C}" type="presParOf" srcId="{E1BF7480-514D-4BBC-8C02-FF501EC72357}" destId="{4B83A63A-0E02-44BF-83A2-84E9F47A9FCB}" srcOrd="0" destOrd="0" presId="urn:microsoft.com/office/officeart/2005/8/layout/hierarchy2"/>
    <dgm:cxn modelId="{30B84D4C-DCCB-4942-9F0A-D9AEBA167B7D}" type="presParOf" srcId="{E1BF7480-514D-4BBC-8C02-FF501EC72357}" destId="{53C778AB-D513-43E8-9094-A37BE14A6502}" srcOrd="1" destOrd="0" presId="urn:microsoft.com/office/officeart/2005/8/layout/hierarchy2"/>
    <dgm:cxn modelId="{2A3BE97C-9CE4-440A-9019-F7399AEB6B5B}" type="presParOf" srcId="{53C778AB-D513-43E8-9094-A37BE14A6502}" destId="{48694CCC-1391-4EF4-9C30-31C1DA88B29F}" srcOrd="0" destOrd="0" presId="urn:microsoft.com/office/officeart/2005/8/layout/hierarchy2"/>
    <dgm:cxn modelId="{2B8C4C51-2B21-44FF-B760-808C8A10894D}" type="presParOf" srcId="{48694CCC-1391-4EF4-9C30-31C1DA88B29F}" destId="{BD0E8D62-2122-412C-9AD0-032836C7C172}" srcOrd="0" destOrd="0" presId="urn:microsoft.com/office/officeart/2005/8/layout/hierarchy2"/>
    <dgm:cxn modelId="{20F2B93B-C787-4E1D-B5B7-62A36ED6CB0A}" type="presParOf" srcId="{53C778AB-D513-43E8-9094-A37BE14A6502}" destId="{7C8C81E5-B911-4543-ADBE-CB66F38CB0E2}" srcOrd="1" destOrd="0" presId="urn:microsoft.com/office/officeart/2005/8/layout/hierarchy2"/>
    <dgm:cxn modelId="{EEF4142D-D5D4-434F-8346-C4012C30C4D8}" type="presParOf" srcId="{7C8C81E5-B911-4543-ADBE-CB66F38CB0E2}" destId="{2AB8D2D3-677E-4694-8286-F696A483FF85}" srcOrd="0" destOrd="0" presId="urn:microsoft.com/office/officeart/2005/8/layout/hierarchy2"/>
    <dgm:cxn modelId="{B9EBAAA1-5EAA-4813-9FC0-EE7E374DC7B5}" type="presParOf" srcId="{7C8C81E5-B911-4543-ADBE-CB66F38CB0E2}" destId="{CD511D84-6B4F-46CC-9B36-2469AE1B882D}" srcOrd="1" destOrd="0" presId="urn:microsoft.com/office/officeart/2005/8/layout/hierarchy2"/>
    <dgm:cxn modelId="{122EFC9E-AB1A-4A3A-9072-4C782F61FEF8}" type="presParOf" srcId="{53C778AB-D513-43E8-9094-A37BE14A6502}" destId="{27E3EA24-5491-4C95-B15E-8D978E94B454}" srcOrd="2" destOrd="0" presId="urn:microsoft.com/office/officeart/2005/8/layout/hierarchy2"/>
    <dgm:cxn modelId="{36513A3A-A626-49A1-9197-84F424DCCFBE}" type="presParOf" srcId="{27E3EA24-5491-4C95-B15E-8D978E94B454}" destId="{F81488A8-249A-4C58-A816-17F7FF68234C}" srcOrd="0" destOrd="0" presId="urn:microsoft.com/office/officeart/2005/8/layout/hierarchy2"/>
    <dgm:cxn modelId="{6CA85583-B117-4EBE-A4A9-8C96460B5971}" type="presParOf" srcId="{53C778AB-D513-43E8-9094-A37BE14A6502}" destId="{DAE8AA25-8834-4417-9FA7-7A01F7EADCD6}" srcOrd="3" destOrd="0" presId="urn:microsoft.com/office/officeart/2005/8/layout/hierarchy2"/>
    <dgm:cxn modelId="{628232C6-21B0-4DC9-B044-4B9EFA76BB49}" type="presParOf" srcId="{DAE8AA25-8834-4417-9FA7-7A01F7EADCD6}" destId="{178EC08F-62C3-4A9B-846C-4004F31D9990}" srcOrd="0" destOrd="0" presId="urn:microsoft.com/office/officeart/2005/8/layout/hierarchy2"/>
    <dgm:cxn modelId="{6D159BC2-0ABD-46D6-8ABA-3A6CE28DC998}" type="presParOf" srcId="{DAE8AA25-8834-4417-9FA7-7A01F7EADCD6}" destId="{E00A53F2-FA40-4EAA-8529-202F2184AA0B}" srcOrd="1" destOrd="0" presId="urn:microsoft.com/office/officeart/2005/8/layout/hierarchy2"/>
    <dgm:cxn modelId="{2D04D701-903D-4C72-90BF-441F0A58BC98}" type="presParOf" srcId="{6FAE81C0-1D60-470A-B84A-7706AD390F5C}" destId="{57389D64-B410-41EA-9260-CE8B946EA0F2}" srcOrd="2" destOrd="0" presId="urn:microsoft.com/office/officeart/2005/8/layout/hierarchy2"/>
    <dgm:cxn modelId="{9B6731A7-F117-406F-8CBE-AD990E979B20}" type="presParOf" srcId="{57389D64-B410-41EA-9260-CE8B946EA0F2}" destId="{0D4F9AB2-F625-4395-B9AB-D2CF7AFF796D}" srcOrd="0" destOrd="0" presId="urn:microsoft.com/office/officeart/2005/8/layout/hierarchy2"/>
    <dgm:cxn modelId="{1B2C06BD-4F76-4C43-A364-8B5E08840098}" type="presParOf" srcId="{6FAE81C0-1D60-470A-B84A-7706AD390F5C}" destId="{FBFFF884-A697-425E-9FAC-5D374CEF1345}" srcOrd="3" destOrd="0" presId="urn:microsoft.com/office/officeart/2005/8/layout/hierarchy2"/>
    <dgm:cxn modelId="{0D2D9DC7-6D9B-4565-AE2E-507EEA143941}" type="presParOf" srcId="{FBFFF884-A697-425E-9FAC-5D374CEF1345}" destId="{CDFF1039-143D-446D-B7BC-5E69F9DA949F}" srcOrd="0" destOrd="0" presId="urn:microsoft.com/office/officeart/2005/8/layout/hierarchy2"/>
    <dgm:cxn modelId="{C640AEE6-FB05-4CE2-8335-E07219D81FEB}" type="presParOf" srcId="{FBFFF884-A697-425E-9FAC-5D374CEF1345}" destId="{8E044F9F-9744-42DE-B4DD-2D6100F75D4E}" srcOrd="1" destOrd="0" presId="urn:microsoft.com/office/officeart/2005/8/layout/hierarchy2"/>
    <dgm:cxn modelId="{D0142675-F0BE-480D-A3BA-9559A02B10A7}" type="presParOf" srcId="{8E044F9F-9744-42DE-B4DD-2D6100F75D4E}" destId="{3DA6CF82-27AE-47F7-A190-D0E2EE674A4B}" srcOrd="0" destOrd="0" presId="urn:microsoft.com/office/officeart/2005/8/layout/hierarchy2"/>
    <dgm:cxn modelId="{EC6CF360-9CD3-4F9B-9F64-28FE5EAACDE5}" type="presParOf" srcId="{3DA6CF82-27AE-47F7-A190-D0E2EE674A4B}" destId="{FCF206FC-FFAC-4171-8617-45680857EA58}" srcOrd="0" destOrd="0" presId="urn:microsoft.com/office/officeart/2005/8/layout/hierarchy2"/>
    <dgm:cxn modelId="{84E6FEA5-15A2-4312-A746-913B7EF0414F}" type="presParOf" srcId="{8E044F9F-9744-42DE-B4DD-2D6100F75D4E}" destId="{F2ACF549-3011-4E4E-9100-E390EF9D4BB1}" srcOrd="1" destOrd="0" presId="urn:microsoft.com/office/officeart/2005/8/layout/hierarchy2"/>
    <dgm:cxn modelId="{BF703363-12E2-4230-B65E-12924382C200}" type="presParOf" srcId="{F2ACF549-3011-4E4E-9100-E390EF9D4BB1}" destId="{ED277023-C623-43E2-861F-874ECECE1A17}" srcOrd="0" destOrd="0" presId="urn:microsoft.com/office/officeart/2005/8/layout/hierarchy2"/>
    <dgm:cxn modelId="{1F225457-1A15-43BD-A355-DAA465847A1F}" type="presParOf" srcId="{F2ACF549-3011-4E4E-9100-E390EF9D4BB1}" destId="{6AC01DDD-5CFE-495B-9574-FEDDF84E2778}" srcOrd="1" destOrd="0" presId="urn:microsoft.com/office/officeart/2005/8/layout/hierarchy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3F0E920E-9192-49B9-A3AD-C70FD43F888E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28FB88C4-C609-43F4-9557-D28CCE6674C2}">
      <dgm:prSet/>
      <dgm:spPr/>
      <dgm:t>
        <a:bodyPr/>
        <a:lstStyle/>
        <a:p>
          <a:r>
            <a:rPr lang="nb-NO"/>
            <a:t>DFØ E-læring: Systemopplæring for fagrekvirent </a:t>
          </a:r>
          <a:endParaRPr lang="en-US"/>
        </a:p>
      </dgm:t>
    </dgm:pt>
    <dgm:pt modelId="{E9200CAD-1510-4591-8424-B440DE098771}" type="parTrans" cxnId="{7D1ECEF0-0B93-483C-9F41-722A246D48D9}">
      <dgm:prSet/>
      <dgm:spPr/>
      <dgm:t>
        <a:bodyPr/>
        <a:lstStyle/>
        <a:p>
          <a:endParaRPr lang="en-US"/>
        </a:p>
      </dgm:t>
    </dgm:pt>
    <dgm:pt modelId="{16F3C3F4-942F-45AC-A1C9-D430258150A1}" type="sibTrans" cxnId="{7D1ECEF0-0B93-483C-9F41-722A246D48D9}">
      <dgm:prSet/>
      <dgm:spPr/>
      <dgm:t>
        <a:bodyPr/>
        <a:lstStyle/>
        <a:p>
          <a:endParaRPr lang="en-US"/>
        </a:p>
      </dgm:t>
    </dgm:pt>
    <dgm:pt modelId="{FF9E0527-93A5-4DB0-9884-1E297CB8D721}">
      <dgm:prSet/>
      <dgm:spPr/>
      <dgm:t>
        <a:bodyPr/>
        <a:lstStyle/>
        <a:p>
          <a:r>
            <a:rPr lang="nb-NO"/>
            <a:t>Innhold: Hvordan utføre oppgaver som fagrekvirent i Unit4 ERP</a:t>
          </a:r>
          <a:endParaRPr lang="en-US"/>
        </a:p>
      </dgm:t>
    </dgm:pt>
    <dgm:pt modelId="{4DAEE3CD-BD24-4304-A8DB-50DD2FA554BA}" type="parTrans" cxnId="{17C61742-3E72-4B7B-BC6B-A5061A9F09B5}">
      <dgm:prSet/>
      <dgm:spPr/>
      <dgm:t>
        <a:bodyPr/>
        <a:lstStyle/>
        <a:p>
          <a:endParaRPr lang="en-US"/>
        </a:p>
      </dgm:t>
    </dgm:pt>
    <dgm:pt modelId="{3501A457-99AF-43E9-B6D7-B9E17699EAEA}" type="sibTrans" cxnId="{17C61742-3E72-4B7B-BC6B-A5061A9F09B5}">
      <dgm:prSet/>
      <dgm:spPr/>
      <dgm:t>
        <a:bodyPr/>
        <a:lstStyle/>
        <a:p>
          <a:endParaRPr lang="en-US"/>
        </a:p>
      </dgm:t>
    </dgm:pt>
    <dgm:pt modelId="{DBE41915-30CD-43E9-9CAB-22AB7B539683}">
      <dgm:prSet/>
      <dgm:spPr/>
      <dgm:t>
        <a:bodyPr/>
        <a:lstStyle/>
        <a:p>
          <a:r>
            <a:rPr lang="nb-NO"/>
            <a:t>NTNU kurs 3:  </a:t>
          </a:r>
          <a:endParaRPr lang="en-US"/>
        </a:p>
      </dgm:t>
    </dgm:pt>
    <dgm:pt modelId="{1DB786D8-1212-44FF-A543-C43707709D74}" type="parTrans" cxnId="{F04637D3-D3DB-41EE-9E70-126F78CC3CF3}">
      <dgm:prSet/>
      <dgm:spPr/>
      <dgm:t>
        <a:bodyPr/>
        <a:lstStyle/>
        <a:p>
          <a:endParaRPr lang="en-US"/>
        </a:p>
      </dgm:t>
    </dgm:pt>
    <dgm:pt modelId="{51C2E6F9-673E-452E-88F4-246857A396BD}" type="sibTrans" cxnId="{F04637D3-D3DB-41EE-9E70-126F78CC3CF3}">
      <dgm:prSet/>
      <dgm:spPr/>
      <dgm:t>
        <a:bodyPr/>
        <a:lstStyle/>
        <a:p>
          <a:endParaRPr lang="en-US"/>
        </a:p>
      </dgm:t>
    </dgm:pt>
    <dgm:pt modelId="{95A14CF5-DA09-4EC3-919A-8B3AFB4EFCED}">
      <dgm:prSet/>
      <dgm:spPr/>
      <dgm:t>
        <a:bodyPr/>
        <a:lstStyle/>
        <a:p>
          <a:r>
            <a:rPr lang="nb-NO"/>
            <a:t>Innhold: Refleksjoner, viktige momenter og spørsmål etter DFØ Video E-læring</a:t>
          </a:r>
          <a:endParaRPr lang="en-US"/>
        </a:p>
      </dgm:t>
    </dgm:pt>
    <dgm:pt modelId="{9681B8B8-0EB4-4FE4-BB38-8A1353BF51E3}" type="parTrans" cxnId="{A9A3FA39-101F-4582-A811-DBD24C8F12E0}">
      <dgm:prSet/>
      <dgm:spPr/>
      <dgm:t>
        <a:bodyPr/>
        <a:lstStyle/>
        <a:p>
          <a:endParaRPr lang="en-US"/>
        </a:p>
      </dgm:t>
    </dgm:pt>
    <dgm:pt modelId="{3D22D25F-9091-4296-B90B-24FE3F767590}" type="sibTrans" cxnId="{A9A3FA39-101F-4582-A811-DBD24C8F12E0}">
      <dgm:prSet/>
      <dgm:spPr/>
      <dgm:t>
        <a:bodyPr/>
        <a:lstStyle/>
        <a:p>
          <a:endParaRPr lang="en-US"/>
        </a:p>
      </dgm:t>
    </dgm:pt>
    <dgm:pt modelId="{4BAFA78A-0ECC-45C6-95E7-18C952F97E90}">
      <dgm:prSet/>
      <dgm:spPr/>
      <dgm:t>
        <a:bodyPr/>
        <a:lstStyle/>
        <a:p>
          <a:r>
            <a:rPr lang="en-US"/>
            <a:t>Når: 15.12 kl. 10-11:30</a:t>
          </a:r>
        </a:p>
      </dgm:t>
    </dgm:pt>
    <dgm:pt modelId="{2112B366-87D4-4DDC-9CEA-5944A63CC988}" type="parTrans" cxnId="{97BAB663-7AE0-4EC4-A0FB-3B3E184DBE22}">
      <dgm:prSet/>
      <dgm:spPr/>
      <dgm:t>
        <a:bodyPr/>
        <a:lstStyle/>
        <a:p>
          <a:endParaRPr lang="nb-NO"/>
        </a:p>
      </dgm:t>
    </dgm:pt>
    <dgm:pt modelId="{87D2F8AB-45FA-4EB6-9761-C2D544E3D8E5}" type="sibTrans" cxnId="{97BAB663-7AE0-4EC4-A0FB-3B3E184DBE22}">
      <dgm:prSet/>
      <dgm:spPr/>
      <dgm:t>
        <a:bodyPr/>
        <a:lstStyle/>
        <a:p>
          <a:endParaRPr lang="nb-NO"/>
        </a:p>
      </dgm:t>
    </dgm:pt>
    <dgm:pt modelId="{2B0715E7-5FCE-4FEE-9437-2EFD9E8B1DB5}">
      <dgm:prSet/>
      <dgm:spPr/>
      <dgm:t>
        <a:bodyPr/>
        <a:lstStyle/>
        <a:p>
          <a:r>
            <a:rPr lang="en-US" err="1"/>
            <a:t>Når</a:t>
          </a:r>
          <a:r>
            <a:rPr lang="en-US"/>
            <a:t>: </a:t>
          </a:r>
          <a:r>
            <a:rPr lang="en-US" err="1"/>
            <a:t>Tilgjengelig</a:t>
          </a:r>
          <a:r>
            <a:rPr lang="en-US"/>
            <a:t> </a:t>
          </a:r>
          <a:r>
            <a:rPr lang="en-US" err="1"/>
            <a:t>fra</a:t>
          </a:r>
          <a:r>
            <a:rPr lang="en-US"/>
            <a:t> 1.desember</a:t>
          </a:r>
        </a:p>
      </dgm:t>
    </dgm:pt>
    <dgm:pt modelId="{D210E197-BB46-40FB-B7D8-174CC85B973B}" type="parTrans" cxnId="{412D93B6-6AD1-4392-B94B-AE27D35DB034}">
      <dgm:prSet/>
      <dgm:spPr/>
      <dgm:t>
        <a:bodyPr/>
        <a:lstStyle/>
        <a:p>
          <a:endParaRPr lang="nb-NO"/>
        </a:p>
      </dgm:t>
    </dgm:pt>
    <dgm:pt modelId="{54E7F8E0-2347-42A3-8B37-33BB20C04AD1}" type="sibTrans" cxnId="{412D93B6-6AD1-4392-B94B-AE27D35DB034}">
      <dgm:prSet/>
      <dgm:spPr/>
      <dgm:t>
        <a:bodyPr/>
        <a:lstStyle/>
        <a:p>
          <a:endParaRPr lang="nb-NO"/>
        </a:p>
      </dgm:t>
    </dgm:pt>
    <dgm:pt modelId="{B9112265-13D2-48F6-93C2-F102321F8444}" type="pres">
      <dgm:prSet presAssocID="{3F0E920E-9192-49B9-A3AD-C70FD43F888E}" presName="linear" presStyleCnt="0">
        <dgm:presLayoutVars>
          <dgm:dir/>
          <dgm:animLvl val="lvl"/>
          <dgm:resizeHandles val="exact"/>
        </dgm:presLayoutVars>
      </dgm:prSet>
      <dgm:spPr/>
    </dgm:pt>
    <dgm:pt modelId="{3C3908DE-A245-4B18-9029-A719C1216CCE}" type="pres">
      <dgm:prSet presAssocID="{28FB88C4-C609-43F4-9557-D28CCE6674C2}" presName="parentLin" presStyleCnt="0"/>
      <dgm:spPr/>
    </dgm:pt>
    <dgm:pt modelId="{36FE5F9F-698B-4263-AD2D-8F1B38952897}" type="pres">
      <dgm:prSet presAssocID="{28FB88C4-C609-43F4-9557-D28CCE6674C2}" presName="parentLeftMargin" presStyleLbl="node1" presStyleIdx="0" presStyleCnt="2"/>
      <dgm:spPr/>
    </dgm:pt>
    <dgm:pt modelId="{623783B2-9564-4800-B02C-8290F499A476}" type="pres">
      <dgm:prSet presAssocID="{28FB88C4-C609-43F4-9557-D28CCE6674C2}" presName="parentText" presStyleLbl="node1" presStyleIdx="0" presStyleCnt="2" custScaleX="136076">
        <dgm:presLayoutVars>
          <dgm:chMax val="0"/>
          <dgm:bulletEnabled val="1"/>
        </dgm:presLayoutVars>
      </dgm:prSet>
      <dgm:spPr/>
    </dgm:pt>
    <dgm:pt modelId="{5FD0953E-9F36-42D0-9C1C-5AAA581C08B5}" type="pres">
      <dgm:prSet presAssocID="{28FB88C4-C609-43F4-9557-D28CCE6674C2}" presName="negativeSpace" presStyleCnt="0"/>
      <dgm:spPr/>
    </dgm:pt>
    <dgm:pt modelId="{782625D8-8EC9-4AD1-9400-7C9934872CC1}" type="pres">
      <dgm:prSet presAssocID="{28FB88C4-C609-43F4-9557-D28CCE6674C2}" presName="childText" presStyleLbl="conFgAcc1" presStyleIdx="0" presStyleCnt="2">
        <dgm:presLayoutVars>
          <dgm:bulletEnabled val="1"/>
        </dgm:presLayoutVars>
      </dgm:prSet>
      <dgm:spPr/>
    </dgm:pt>
    <dgm:pt modelId="{52EF4AA7-68BF-4D28-86DB-F1AC412AC2E8}" type="pres">
      <dgm:prSet presAssocID="{16F3C3F4-942F-45AC-A1C9-D430258150A1}" presName="spaceBetweenRectangles" presStyleCnt="0"/>
      <dgm:spPr/>
    </dgm:pt>
    <dgm:pt modelId="{860B72F3-E376-4F32-939E-330BC7C2C4DE}" type="pres">
      <dgm:prSet presAssocID="{DBE41915-30CD-43E9-9CAB-22AB7B539683}" presName="parentLin" presStyleCnt="0"/>
      <dgm:spPr/>
    </dgm:pt>
    <dgm:pt modelId="{805137B1-CCD9-468A-8D42-2F471EFE473B}" type="pres">
      <dgm:prSet presAssocID="{DBE41915-30CD-43E9-9CAB-22AB7B539683}" presName="parentLeftMargin" presStyleLbl="node1" presStyleIdx="0" presStyleCnt="2"/>
      <dgm:spPr/>
    </dgm:pt>
    <dgm:pt modelId="{4DC7D8D6-0404-4FC4-8CF1-ACF247F78FEA}" type="pres">
      <dgm:prSet presAssocID="{DBE41915-30CD-43E9-9CAB-22AB7B539683}" presName="parentText" presStyleLbl="node1" presStyleIdx="1" presStyleCnt="2">
        <dgm:presLayoutVars>
          <dgm:chMax val="0"/>
          <dgm:bulletEnabled val="1"/>
        </dgm:presLayoutVars>
      </dgm:prSet>
      <dgm:spPr/>
    </dgm:pt>
    <dgm:pt modelId="{342B7AD7-F2CF-4874-BD28-9F9F65B46E80}" type="pres">
      <dgm:prSet presAssocID="{DBE41915-30CD-43E9-9CAB-22AB7B539683}" presName="negativeSpace" presStyleCnt="0"/>
      <dgm:spPr/>
    </dgm:pt>
    <dgm:pt modelId="{21289680-A6AC-4101-91B9-5FDB0CAA5D7B}" type="pres">
      <dgm:prSet presAssocID="{DBE41915-30CD-43E9-9CAB-22AB7B539683}" presName="childText" presStyleLbl="conFgAcc1" presStyleIdx="1" presStyleCnt="2">
        <dgm:presLayoutVars>
          <dgm:bulletEnabled val="1"/>
        </dgm:presLayoutVars>
      </dgm:prSet>
      <dgm:spPr/>
    </dgm:pt>
  </dgm:ptLst>
  <dgm:cxnLst>
    <dgm:cxn modelId="{E06DD10D-58B7-42B8-9856-52E27A054D78}" type="presOf" srcId="{28FB88C4-C609-43F4-9557-D28CCE6674C2}" destId="{623783B2-9564-4800-B02C-8290F499A476}" srcOrd="1" destOrd="0" presId="urn:microsoft.com/office/officeart/2005/8/layout/list1"/>
    <dgm:cxn modelId="{16F05130-0FF8-448E-B1FC-02EA7361B2B2}" type="presOf" srcId="{2B0715E7-5FCE-4FEE-9437-2EFD9E8B1DB5}" destId="{782625D8-8EC9-4AD1-9400-7C9934872CC1}" srcOrd="0" destOrd="1" presId="urn:microsoft.com/office/officeart/2005/8/layout/list1"/>
    <dgm:cxn modelId="{A9A3FA39-101F-4582-A811-DBD24C8F12E0}" srcId="{DBE41915-30CD-43E9-9CAB-22AB7B539683}" destId="{95A14CF5-DA09-4EC3-919A-8B3AFB4EFCED}" srcOrd="0" destOrd="0" parTransId="{9681B8B8-0EB4-4FE4-BB38-8A1353BF51E3}" sibTransId="{3D22D25F-9091-4296-B90B-24FE3F767590}"/>
    <dgm:cxn modelId="{17C61742-3E72-4B7B-BC6B-A5061A9F09B5}" srcId="{28FB88C4-C609-43F4-9557-D28CCE6674C2}" destId="{FF9E0527-93A5-4DB0-9884-1E297CB8D721}" srcOrd="0" destOrd="0" parTransId="{4DAEE3CD-BD24-4304-A8DB-50DD2FA554BA}" sibTransId="{3501A457-99AF-43E9-B6D7-B9E17699EAEA}"/>
    <dgm:cxn modelId="{97BAB663-7AE0-4EC4-A0FB-3B3E184DBE22}" srcId="{DBE41915-30CD-43E9-9CAB-22AB7B539683}" destId="{4BAFA78A-0ECC-45C6-95E7-18C952F97E90}" srcOrd="1" destOrd="0" parTransId="{2112B366-87D4-4DDC-9CEA-5944A63CC988}" sibTransId="{87D2F8AB-45FA-4EB6-9761-C2D544E3D8E5}"/>
    <dgm:cxn modelId="{28440351-B03A-4911-B4C8-7E2F933D714E}" type="presOf" srcId="{FF9E0527-93A5-4DB0-9884-1E297CB8D721}" destId="{782625D8-8EC9-4AD1-9400-7C9934872CC1}" srcOrd="0" destOrd="0" presId="urn:microsoft.com/office/officeart/2005/8/layout/list1"/>
    <dgm:cxn modelId="{510E7B53-4138-4010-8C3D-2ACFBCDDA11C}" type="presOf" srcId="{28FB88C4-C609-43F4-9557-D28CCE6674C2}" destId="{36FE5F9F-698B-4263-AD2D-8F1B38952897}" srcOrd="0" destOrd="0" presId="urn:microsoft.com/office/officeart/2005/8/layout/list1"/>
    <dgm:cxn modelId="{F20DBD84-4D21-4594-A743-670B2F5D71F0}" type="presOf" srcId="{DBE41915-30CD-43E9-9CAB-22AB7B539683}" destId="{4DC7D8D6-0404-4FC4-8CF1-ACF247F78FEA}" srcOrd="1" destOrd="0" presId="urn:microsoft.com/office/officeart/2005/8/layout/list1"/>
    <dgm:cxn modelId="{412D93B6-6AD1-4392-B94B-AE27D35DB034}" srcId="{28FB88C4-C609-43F4-9557-D28CCE6674C2}" destId="{2B0715E7-5FCE-4FEE-9437-2EFD9E8B1DB5}" srcOrd="1" destOrd="0" parTransId="{D210E197-BB46-40FB-B7D8-174CC85B973B}" sibTransId="{54E7F8E0-2347-42A3-8B37-33BB20C04AD1}"/>
    <dgm:cxn modelId="{70F0B2C4-1718-4745-8AD5-D0258E63CBFF}" type="presOf" srcId="{4BAFA78A-0ECC-45C6-95E7-18C952F97E90}" destId="{21289680-A6AC-4101-91B9-5FDB0CAA5D7B}" srcOrd="0" destOrd="1" presId="urn:microsoft.com/office/officeart/2005/8/layout/list1"/>
    <dgm:cxn modelId="{ED2ED0CB-B90C-4F70-BCB2-48CFE37CE1DA}" type="presOf" srcId="{3F0E920E-9192-49B9-A3AD-C70FD43F888E}" destId="{B9112265-13D2-48F6-93C2-F102321F8444}" srcOrd="0" destOrd="0" presId="urn:microsoft.com/office/officeart/2005/8/layout/list1"/>
    <dgm:cxn modelId="{F04637D3-D3DB-41EE-9E70-126F78CC3CF3}" srcId="{3F0E920E-9192-49B9-A3AD-C70FD43F888E}" destId="{DBE41915-30CD-43E9-9CAB-22AB7B539683}" srcOrd="1" destOrd="0" parTransId="{1DB786D8-1212-44FF-A543-C43707709D74}" sibTransId="{51C2E6F9-673E-452E-88F4-246857A396BD}"/>
    <dgm:cxn modelId="{9DB766D7-F0D1-475E-BD51-FB14A65CD5F7}" type="presOf" srcId="{95A14CF5-DA09-4EC3-919A-8B3AFB4EFCED}" destId="{21289680-A6AC-4101-91B9-5FDB0CAA5D7B}" srcOrd="0" destOrd="0" presId="urn:microsoft.com/office/officeart/2005/8/layout/list1"/>
    <dgm:cxn modelId="{3B4993DD-47E4-4371-ACF7-3ACF2AFF59CB}" type="presOf" srcId="{DBE41915-30CD-43E9-9CAB-22AB7B539683}" destId="{805137B1-CCD9-468A-8D42-2F471EFE473B}" srcOrd="0" destOrd="0" presId="urn:microsoft.com/office/officeart/2005/8/layout/list1"/>
    <dgm:cxn modelId="{7D1ECEF0-0B93-483C-9F41-722A246D48D9}" srcId="{3F0E920E-9192-49B9-A3AD-C70FD43F888E}" destId="{28FB88C4-C609-43F4-9557-D28CCE6674C2}" srcOrd="0" destOrd="0" parTransId="{E9200CAD-1510-4591-8424-B440DE098771}" sibTransId="{16F3C3F4-942F-45AC-A1C9-D430258150A1}"/>
    <dgm:cxn modelId="{06496E62-CFDA-4E27-A1DA-B15BC5F049C8}" type="presParOf" srcId="{B9112265-13D2-48F6-93C2-F102321F8444}" destId="{3C3908DE-A245-4B18-9029-A719C1216CCE}" srcOrd="0" destOrd="0" presId="urn:microsoft.com/office/officeart/2005/8/layout/list1"/>
    <dgm:cxn modelId="{CE808AC6-F46A-4161-8FEA-0A5F24A1D0BF}" type="presParOf" srcId="{3C3908DE-A245-4B18-9029-A719C1216CCE}" destId="{36FE5F9F-698B-4263-AD2D-8F1B38952897}" srcOrd="0" destOrd="0" presId="urn:microsoft.com/office/officeart/2005/8/layout/list1"/>
    <dgm:cxn modelId="{F58B1717-ED64-412F-B47C-C7604A4E36C7}" type="presParOf" srcId="{3C3908DE-A245-4B18-9029-A719C1216CCE}" destId="{623783B2-9564-4800-B02C-8290F499A476}" srcOrd="1" destOrd="0" presId="urn:microsoft.com/office/officeart/2005/8/layout/list1"/>
    <dgm:cxn modelId="{C88BD77D-F7D7-4800-8FCD-58F9DF245938}" type="presParOf" srcId="{B9112265-13D2-48F6-93C2-F102321F8444}" destId="{5FD0953E-9F36-42D0-9C1C-5AAA581C08B5}" srcOrd="1" destOrd="0" presId="urn:microsoft.com/office/officeart/2005/8/layout/list1"/>
    <dgm:cxn modelId="{568A5237-71F2-49E0-BC98-F576C3DF1865}" type="presParOf" srcId="{B9112265-13D2-48F6-93C2-F102321F8444}" destId="{782625D8-8EC9-4AD1-9400-7C9934872CC1}" srcOrd="2" destOrd="0" presId="urn:microsoft.com/office/officeart/2005/8/layout/list1"/>
    <dgm:cxn modelId="{FC01B73D-BD1A-450B-B785-C527F27C140B}" type="presParOf" srcId="{B9112265-13D2-48F6-93C2-F102321F8444}" destId="{52EF4AA7-68BF-4D28-86DB-F1AC412AC2E8}" srcOrd="3" destOrd="0" presId="urn:microsoft.com/office/officeart/2005/8/layout/list1"/>
    <dgm:cxn modelId="{35EA4C81-C7A3-4B8A-B251-1D7EAA82F8E2}" type="presParOf" srcId="{B9112265-13D2-48F6-93C2-F102321F8444}" destId="{860B72F3-E376-4F32-939E-330BC7C2C4DE}" srcOrd="4" destOrd="0" presId="urn:microsoft.com/office/officeart/2005/8/layout/list1"/>
    <dgm:cxn modelId="{14349A0B-0703-4DE5-A37B-55EFB559B6CE}" type="presParOf" srcId="{860B72F3-E376-4F32-939E-330BC7C2C4DE}" destId="{805137B1-CCD9-468A-8D42-2F471EFE473B}" srcOrd="0" destOrd="0" presId="urn:microsoft.com/office/officeart/2005/8/layout/list1"/>
    <dgm:cxn modelId="{4F827272-2D9A-4715-8363-5CC4A323DAF6}" type="presParOf" srcId="{860B72F3-E376-4F32-939E-330BC7C2C4DE}" destId="{4DC7D8D6-0404-4FC4-8CF1-ACF247F78FEA}" srcOrd="1" destOrd="0" presId="urn:microsoft.com/office/officeart/2005/8/layout/list1"/>
    <dgm:cxn modelId="{0F24814F-CB40-4DFB-A898-7311D7054F9B}" type="presParOf" srcId="{B9112265-13D2-48F6-93C2-F102321F8444}" destId="{342B7AD7-F2CF-4874-BD28-9F9F65B46E80}" srcOrd="5" destOrd="0" presId="urn:microsoft.com/office/officeart/2005/8/layout/list1"/>
    <dgm:cxn modelId="{C8D04313-4E00-49A1-9AE9-2CC5FC9A5D18}" type="presParOf" srcId="{B9112265-13D2-48F6-93C2-F102321F8444}" destId="{21289680-A6AC-4101-91B9-5FDB0CAA5D7B}" srcOrd="6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9F26713-7102-4DBA-975A-66261E72AAEA}">
      <dsp:nvSpPr>
        <dsp:cNvPr id="0" name=""/>
        <dsp:cNvSpPr/>
      </dsp:nvSpPr>
      <dsp:spPr>
        <a:xfrm>
          <a:off x="0" y="1755939"/>
          <a:ext cx="1056469" cy="528234"/>
        </a:xfrm>
        <a:prstGeom prst="roundRect">
          <a:avLst>
            <a:gd name="adj" fmla="val 10000"/>
          </a:avLst>
        </a:prstGeom>
        <a:solidFill>
          <a:srgbClr val="E7E6E6"/>
        </a:solidFill>
        <a:ln w="127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Norge</a:t>
          </a:r>
        </a:p>
      </dsp:txBody>
      <dsp:txXfrm>
        <a:off x="15471" y="1771410"/>
        <a:ext cx="1025527" cy="497292"/>
      </dsp:txXfrm>
    </dsp:sp>
    <dsp:sp modelId="{7F888C55-15A4-49E1-9C53-F5560C9FCAFA}">
      <dsp:nvSpPr>
        <dsp:cNvPr id="0" name=""/>
        <dsp:cNvSpPr/>
      </dsp:nvSpPr>
      <dsp:spPr>
        <a:xfrm rot="21576059">
          <a:off x="1056464" y="2005825"/>
          <a:ext cx="427039" cy="25488"/>
        </a:xfrm>
        <a:custGeom>
          <a:avLst/>
          <a:gdLst/>
          <a:ahLst/>
          <a:cxnLst/>
          <a:rect l="0" t="0" r="0" b="0"/>
          <a:pathLst>
            <a:path>
              <a:moveTo>
                <a:pt x="0" y="14458"/>
              </a:moveTo>
              <a:lnTo>
                <a:pt x="1293314" y="14458"/>
              </a:lnTo>
            </a:path>
          </a:pathLst>
        </a:custGeom>
        <a:noFill/>
        <a:ln w="12700" cap="flat" cmpd="sng" algn="ctr">
          <a:solidFill>
            <a:sysClr val="windowText" lastClr="000000">
              <a:shade val="60000"/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/>
            <a:ea typeface="+mn-ea"/>
            <a:cs typeface="+mn-cs"/>
          </a:endParaRPr>
        </a:p>
      </dsp:txBody>
      <dsp:txXfrm>
        <a:off x="1259308" y="2007894"/>
        <a:ext cx="21351" cy="21351"/>
      </dsp:txXfrm>
    </dsp:sp>
    <dsp:sp modelId="{72DCF77F-51BA-4DC2-BCF3-B9464212ED05}">
      <dsp:nvSpPr>
        <dsp:cNvPr id="0" name=""/>
        <dsp:cNvSpPr/>
      </dsp:nvSpPr>
      <dsp:spPr>
        <a:xfrm>
          <a:off x="1483498" y="1752965"/>
          <a:ext cx="1056469" cy="528234"/>
        </a:xfrm>
        <a:prstGeom prst="roundRect">
          <a:avLst>
            <a:gd name="adj" fmla="val 10000"/>
          </a:avLst>
        </a:prstGeom>
        <a:solidFill>
          <a:srgbClr val="86A4F7">
            <a:lumMod val="20000"/>
            <a:lumOff val="80000"/>
          </a:srgbClr>
        </a:solidFill>
        <a:ln w="127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Med </a:t>
          </a:r>
          <a:r>
            <a:rPr lang="en-US" sz="900" kern="1200" err="1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innkjøpsordre</a:t>
          </a:r>
          <a:endParaRPr lang="en-US" sz="900" kern="120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/>
            <a:ea typeface="+mn-ea"/>
            <a:cs typeface="+mn-cs"/>
          </a:endParaRPr>
        </a:p>
      </dsp:txBody>
      <dsp:txXfrm>
        <a:off x="1498969" y="1768436"/>
        <a:ext cx="1025527" cy="497292"/>
      </dsp:txXfrm>
    </dsp:sp>
    <dsp:sp modelId="{C233E241-7E46-40A9-88CB-5BD76C9FCEAB}">
      <dsp:nvSpPr>
        <dsp:cNvPr id="0" name=""/>
        <dsp:cNvSpPr/>
      </dsp:nvSpPr>
      <dsp:spPr>
        <a:xfrm rot="17978377">
          <a:off x="2327072" y="1638256"/>
          <a:ext cx="842389" cy="25488"/>
        </a:xfrm>
        <a:custGeom>
          <a:avLst/>
          <a:gdLst/>
          <a:ahLst/>
          <a:cxnLst/>
          <a:rect l="0" t="0" r="0" b="0"/>
          <a:pathLst>
            <a:path>
              <a:moveTo>
                <a:pt x="0" y="12744"/>
              </a:moveTo>
              <a:lnTo>
                <a:pt x="842389" y="12744"/>
              </a:lnTo>
            </a:path>
          </a:pathLst>
        </a:custGeom>
        <a:noFill/>
        <a:ln w="127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/>
            <a:ea typeface="+mn-ea"/>
            <a:cs typeface="+mn-cs"/>
          </a:endParaRPr>
        </a:p>
      </dsp:txBody>
      <dsp:txXfrm>
        <a:off x="2727207" y="1629940"/>
        <a:ext cx="42119" cy="42119"/>
      </dsp:txXfrm>
    </dsp:sp>
    <dsp:sp modelId="{B221AB9B-0AFA-428C-81FD-607451257116}">
      <dsp:nvSpPr>
        <dsp:cNvPr id="0" name=""/>
        <dsp:cNvSpPr/>
      </dsp:nvSpPr>
      <dsp:spPr>
        <a:xfrm>
          <a:off x="2956565" y="1020800"/>
          <a:ext cx="1056469" cy="528234"/>
        </a:xfrm>
        <a:prstGeom prst="roundRect">
          <a:avLst>
            <a:gd name="adj" fmla="val 10000"/>
          </a:avLst>
        </a:prstGeom>
        <a:solidFill>
          <a:srgbClr val="E6ECFF"/>
        </a:solidFill>
        <a:ln w="127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err="1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Uten</a:t>
          </a:r>
          <a:r>
            <a:rPr lang="en-US" sz="900" kern="12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 </a:t>
          </a:r>
          <a:r>
            <a:rPr lang="en-US" sz="900" kern="1200" err="1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fradrag</a:t>
          </a:r>
          <a:endParaRPr lang="en-US" sz="900" kern="120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/>
            <a:ea typeface="+mn-ea"/>
            <a:cs typeface="+mn-cs"/>
          </a:endParaRPr>
        </a:p>
      </dsp:txBody>
      <dsp:txXfrm>
        <a:off x="2972036" y="1036271"/>
        <a:ext cx="1025527" cy="497292"/>
      </dsp:txXfrm>
    </dsp:sp>
    <dsp:sp modelId="{E8FB5037-1B66-428B-B905-9EFB24A9F6B9}">
      <dsp:nvSpPr>
        <dsp:cNvPr id="0" name=""/>
        <dsp:cNvSpPr/>
      </dsp:nvSpPr>
      <dsp:spPr>
        <a:xfrm rot="18530204">
          <a:off x="3883328" y="1001231"/>
          <a:ext cx="695672" cy="25488"/>
        </a:xfrm>
        <a:custGeom>
          <a:avLst/>
          <a:gdLst/>
          <a:ahLst/>
          <a:cxnLst/>
          <a:rect l="0" t="0" r="0" b="0"/>
          <a:pathLst>
            <a:path>
              <a:moveTo>
                <a:pt x="0" y="12744"/>
              </a:moveTo>
              <a:lnTo>
                <a:pt x="695672" y="12744"/>
              </a:lnTo>
            </a:path>
          </a:pathLst>
        </a:custGeom>
        <a:noFill/>
        <a:ln w="127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/>
            <a:ea typeface="+mn-ea"/>
            <a:cs typeface="+mn-cs"/>
          </a:endParaRPr>
        </a:p>
      </dsp:txBody>
      <dsp:txXfrm>
        <a:off x="4213773" y="996583"/>
        <a:ext cx="34783" cy="34783"/>
      </dsp:txXfrm>
    </dsp:sp>
    <dsp:sp modelId="{DA774EEF-A12D-4701-8AE1-E4FF8E1B0B96}">
      <dsp:nvSpPr>
        <dsp:cNvPr id="0" name=""/>
        <dsp:cNvSpPr/>
      </dsp:nvSpPr>
      <dsp:spPr>
        <a:xfrm>
          <a:off x="4449294" y="478915"/>
          <a:ext cx="1056469" cy="528234"/>
        </a:xfrm>
        <a:prstGeom prst="roundRect">
          <a:avLst>
            <a:gd name="adj" fmla="val 10000"/>
          </a:avLst>
        </a:prstGeom>
        <a:solidFill>
          <a:srgbClr val="86A4F7">
            <a:lumMod val="20000"/>
            <a:lumOff val="80000"/>
          </a:srgbClr>
        </a:solidFill>
        <a:ln w="127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Med MVA</a:t>
          </a:r>
        </a:p>
      </dsp:txBody>
      <dsp:txXfrm>
        <a:off x="4464765" y="494386"/>
        <a:ext cx="1025527" cy="497292"/>
      </dsp:txXfrm>
    </dsp:sp>
    <dsp:sp modelId="{2C9501DC-043B-49CB-8E43-23AFEF08C09E}">
      <dsp:nvSpPr>
        <dsp:cNvPr id="0" name=""/>
        <dsp:cNvSpPr/>
      </dsp:nvSpPr>
      <dsp:spPr>
        <a:xfrm rot="21554379">
          <a:off x="5505746" y="727582"/>
          <a:ext cx="408012" cy="25488"/>
        </a:xfrm>
        <a:custGeom>
          <a:avLst/>
          <a:gdLst/>
          <a:ahLst/>
          <a:cxnLst/>
          <a:rect l="0" t="0" r="0" b="0"/>
          <a:pathLst>
            <a:path>
              <a:moveTo>
                <a:pt x="0" y="12744"/>
              </a:moveTo>
              <a:lnTo>
                <a:pt x="408012" y="12744"/>
              </a:lnTo>
            </a:path>
          </a:pathLst>
        </a:custGeom>
        <a:noFill/>
        <a:ln w="127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/>
            <a:ea typeface="+mn-ea"/>
            <a:cs typeface="+mn-cs"/>
          </a:endParaRPr>
        </a:p>
      </dsp:txBody>
      <dsp:txXfrm>
        <a:off x="5699552" y="730125"/>
        <a:ext cx="20400" cy="20400"/>
      </dsp:txXfrm>
    </dsp:sp>
    <dsp:sp modelId="{877B6B26-B9FA-4C1D-B886-C43C1D00DE7C}">
      <dsp:nvSpPr>
        <dsp:cNvPr id="0" name=""/>
        <dsp:cNvSpPr/>
      </dsp:nvSpPr>
      <dsp:spPr>
        <a:xfrm>
          <a:off x="5913740" y="473501"/>
          <a:ext cx="1056469" cy="528234"/>
        </a:xfrm>
        <a:prstGeom prst="roundRect">
          <a:avLst>
            <a:gd name="adj" fmla="val 10000"/>
          </a:avLst>
        </a:prstGeom>
        <a:solidFill>
          <a:srgbClr val="92D050"/>
        </a:solidFill>
        <a:ln w="127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X1 =25 %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X2 =15 %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X3 =12 %</a:t>
          </a:r>
        </a:p>
      </dsp:txBody>
      <dsp:txXfrm>
        <a:off x="5929211" y="488972"/>
        <a:ext cx="1025527" cy="497292"/>
      </dsp:txXfrm>
    </dsp:sp>
    <dsp:sp modelId="{3C5BEF83-647B-4788-A17E-237206318A19}">
      <dsp:nvSpPr>
        <dsp:cNvPr id="0" name=""/>
        <dsp:cNvSpPr/>
      </dsp:nvSpPr>
      <dsp:spPr>
        <a:xfrm rot="3048736">
          <a:off x="3872521" y="1568014"/>
          <a:ext cx="763380" cy="25488"/>
        </a:xfrm>
        <a:custGeom>
          <a:avLst/>
          <a:gdLst/>
          <a:ahLst/>
          <a:cxnLst/>
          <a:rect l="0" t="0" r="0" b="0"/>
          <a:pathLst>
            <a:path>
              <a:moveTo>
                <a:pt x="0" y="12744"/>
              </a:moveTo>
              <a:lnTo>
                <a:pt x="763380" y="12744"/>
              </a:lnTo>
            </a:path>
          </a:pathLst>
        </a:custGeom>
        <a:noFill/>
        <a:ln w="1270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500" kern="1200"/>
        </a:p>
      </dsp:txBody>
      <dsp:txXfrm>
        <a:off x="4235127" y="1561673"/>
        <a:ext cx="38169" cy="38169"/>
      </dsp:txXfrm>
    </dsp:sp>
    <dsp:sp modelId="{4387A880-EAD6-4C43-BC26-1527085A10AF}">
      <dsp:nvSpPr>
        <dsp:cNvPr id="0" name=""/>
        <dsp:cNvSpPr/>
      </dsp:nvSpPr>
      <dsp:spPr>
        <a:xfrm>
          <a:off x="4495388" y="1612481"/>
          <a:ext cx="1056469" cy="528234"/>
        </a:xfrm>
        <a:prstGeom prst="roundRect">
          <a:avLst>
            <a:gd name="adj" fmla="val 10000"/>
          </a:avLst>
        </a:prstGeom>
        <a:solidFill>
          <a:srgbClr val="86A4F7">
            <a:lumMod val="20000"/>
            <a:lumOff val="80000"/>
          </a:srgbClr>
        </a:solidFill>
        <a:ln w="127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err="1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Uten</a:t>
          </a:r>
          <a:r>
            <a:rPr lang="en-US" sz="900" kern="12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 MVA</a:t>
          </a:r>
        </a:p>
      </dsp:txBody>
      <dsp:txXfrm>
        <a:off x="4510859" y="1627952"/>
        <a:ext cx="1025527" cy="497292"/>
      </dsp:txXfrm>
    </dsp:sp>
    <dsp:sp modelId="{8AF396C3-F6FB-4F4E-A1A7-68137EC4588E}">
      <dsp:nvSpPr>
        <dsp:cNvPr id="0" name=""/>
        <dsp:cNvSpPr/>
      </dsp:nvSpPr>
      <dsp:spPr>
        <a:xfrm rot="21571783">
          <a:off x="5551851" y="1862322"/>
          <a:ext cx="373267" cy="25488"/>
        </a:xfrm>
        <a:custGeom>
          <a:avLst/>
          <a:gdLst/>
          <a:ahLst/>
          <a:cxnLst/>
          <a:rect l="0" t="0" r="0" b="0"/>
          <a:pathLst>
            <a:path>
              <a:moveTo>
                <a:pt x="0" y="12744"/>
              </a:moveTo>
              <a:lnTo>
                <a:pt x="373267" y="12744"/>
              </a:lnTo>
            </a:path>
          </a:pathLst>
        </a:custGeom>
        <a:noFill/>
        <a:ln w="1270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500" kern="1200"/>
        </a:p>
      </dsp:txBody>
      <dsp:txXfrm>
        <a:off x="5729153" y="1865735"/>
        <a:ext cx="18663" cy="18663"/>
      </dsp:txXfrm>
    </dsp:sp>
    <dsp:sp modelId="{86F750E0-E294-48E3-980B-E5AA0A52228C}">
      <dsp:nvSpPr>
        <dsp:cNvPr id="0" name=""/>
        <dsp:cNvSpPr/>
      </dsp:nvSpPr>
      <dsp:spPr>
        <a:xfrm>
          <a:off x="5925112" y="1633428"/>
          <a:ext cx="1056469" cy="480213"/>
        </a:xfrm>
        <a:prstGeom prst="roundRect">
          <a:avLst>
            <a:gd name="adj" fmla="val 10000"/>
          </a:avLst>
        </a:prstGeom>
        <a:solidFill>
          <a:srgbClr val="86A4F7">
            <a:lumMod val="20000"/>
            <a:lumOff val="80000"/>
          </a:srgbClr>
        </a:solidFill>
        <a:ln w="127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0 = </a:t>
          </a:r>
          <a:r>
            <a:rPr lang="en-US" sz="900" kern="1200" err="1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ingen</a:t>
          </a:r>
          <a:r>
            <a:rPr lang="en-US" sz="900" kern="12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 </a:t>
          </a:r>
          <a:r>
            <a:rPr lang="en-US" sz="900" kern="1200" err="1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avgift</a:t>
          </a:r>
          <a:endParaRPr lang="en-US" sz="900" kern="120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/>
            <a:ea typeface="+mn-ea"/>
            <a:cs typeface="+mn-cs"/>
          </a:endParaRPr>
        </a:p>
      </dsp:txBody>
      <dsp:txXfrm>
        <a:off x="5939177" y="1647493"/>
        <a:ext cx="1028339" cy="452083"/>
      </dsp:txXfrm>
    </dsp:sp>
    <dsp:sp modelId="{7E3E95B3-4AF5-4C00-A433-31C7191B61FC}">
      <dsp:nvSpPr>
        <dsp:cNvPr id="0" name=""/>
        <dsp:cNvSpPr/>
      </dsp:nvSpPr>
      <dsp:spPr>
        <a:xfrm rot="3614822">
          <a:off x="2308606" y="2403082"/>
          <a:ext cx="918580" cy="25488"/>
        </a:xfrm>
        <a:custGeom>
          <a:avLst/>
          <a:gdLst/>
          <a:ahLst/>
          <a:cxnLst/>
          <a:rect l="0" t="0" r="0" b="0"/>
          <a:pathLst>
            <a:path>
              <a:moveTo>
                <a:pt x="0" y="12744"/>
              </a:moveTo>
              <a:lnTo>
                <a:pt x="918580" y="12744"/>
              </a:lnTo>
            </a:path>
          </a:pathLst>
        </a:custGeom>
        <a:noFill/>
        <a:ln w="12700" cap="flat" cmpd="sng" algn="ctr">
          <a:solidFill>
            <a:sysClr val="windowText" lastClr="000000">
              <a:shade val="80000"/>
              <a:hueOff val="0"/>
              <a:satOff val="0"/>
              <a:lumOff val="0"/>
            </a:sysClr>
          </a:solidFill>
          <a:prstDash val="solid"/>
          <a:round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/>
            <a:ea typeface="+mn-ea"/>
            <a:cs typeface="+mn-cs"/>
          </a:endParaRPr>
        </a:p>
      </dsp:txBody>
      <dsp:txXfrm>
        <a:off x="2744931" y="2392861"/>
        <a:ext cx="45929" cy="45929"/>
      </dsp:txXfrm>
    </dsp:sp>
    <dsp:sp modelId="{2F4B9BBE-D74F-46B8-8E04-835B1B1951CD}">
      <dsp:nvSpPr>
        <dsp:cNvPr id="0" name=""/>
        <dsp:cNvSpPr/>
      </dsp:nvSpPr>
      <dsp:spPr>
        <a:xfrm>
          <a:off x="2995824" y="2550452"/>
          <a:ext cx="1056469" cy="528234"/>
        </a:xfrm>
        <a:prstGeom prst="roundRect">
          <a:avLst>
            <a:gd name="adj" fmla="val 10000"/>
          </a:avLst>
        </a:prstGeom>
        <a:solidFill>
          <a:srgbClr val="86A4F7">
            <a:lumMod val="20000"/>
            <a:lumOff val="80000"/>
          </a:srgbClr>
        </a:solidFill>
        <a:ln w="127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Med </a:t>
          </a:r>
          <a:r>
            <a:rPr lang="en-US" sz="900" kern="1200" err="1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fradrag</a:t>
          </a:r>
          <a:endParaRPr lang="en-US" sz="900" kern="120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/>
            <a:ea typeface="+mn-ea"/>
            <a:cs typeface="+mn-cs"/>
          </a:endParaRPr>
        </a:p>
      </dsp:txBody>
      <dsp:txXfrm>
        <a:off x="3011295" y="2565923"/>
        <a:ext cx="1025527" cy="497292"/>
      </dsp:txXfrm>
    </dsp:sp>
    <dsp:sp modelId="{17F6C8D1-745F-4387-9D78-4BA5C5F77EB9}">
      <dsp:nvSpPr>
        <dsp:cNvPr id="0" name=""/>
        <dsp:cNvSpPr/>
      </dsp:nvSpPr>
      <dsp:spPr>
        <a:xfrm>
          <a:off x="4052294" y="2801825"/>
          <a:ext cx="364788" cy="25488"/>
        </a:xfrm>
        <a:custGeom>
          <a:avLst/>
          <a:gdLst/>
          <a:ahLst/>
          <a:cxnLst/>
          <a:rect l="0" t="0" r="0" b="0"/>
          <a:pathLst>
            <a:path>
              <a:moveTo>
                <a:pt x="0" y="12744"/>
              </a:moveTo>
              <a:lnTo>
                <a:pt x="364788" y="12744"/>
              </a:lnTo>
            </a:path>
          </a:pathLst>
        </a:custGeom>
        <a:noFill/>
        <a:ln w="1270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500" kern="1200"/>
        </a:p>
      </dsp:txBody>
      <dsp:txXfrm>
        <a:off x="4225568" y="2805450"/>
        <a:ext cx="18239" cy="18239"/>
      </dsp:txXfrm>
    </dsp:sp>
    <dsp:sp modelId="{C2929E07-E261-42C3-BAD1-0CD21312846F}">
      <dsp:nvSpPr>
        <dsp:cNvPr id="0" name=""/>
        <dsp:cNvSpPr/>
      </dsp:nvSpPr>
      <dsp:spPr>
        <a:xfrm>
          <a:off x="4417082" y="2550452"/>
          <a:ext cx="1056469" cy="528234"/>
        </a:xfrm>
        <a:prstGeom prst="roundRect">
          <a:avLst>
            <a:gd name="adj" fmla="val 10000"/>
          </a:avLst>
        </a:prstGeom>
        <a:solidFill>
          <a:srgbClr val="86A4F7">
            <a:lumMod val="20000"/>
            <a:lumOff val="80000"/>
          </a:srgbClr>
        </a:solidFill>
        <a:ln w="127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1N = 25%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11 = 15%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12 = 12%</a:t>
          </a:r>
        </a:p>
      </dsp:txBody>
      <dsp:txXfrm>
        <a:off x="4432553" y="2565923"/>
        <a:ext cx="1025527" cy="49729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125BD50-D79D-4CC3-9755-0DA3E2D8E3FD}">
      <dsp:nvSpPr>
        <dsp:cNvPr id="0" name=""/>
        <dsp:cNvSpPr/>
      </dsp:nvSpPr>
      <dsp:spPr>
        <a:xfrm>
          <a:off x="1594688" y="1554106"/>
          <a:ext cx="988451" cy="494225"/>
        </a:xfrm>
        <a:prstGeom prst="roundRect">
          <a:avLst>
            <a:gd name="adj" fmla="val 10000"/>
          </a:avLst>
        </a:prstGeom>
        <a:solidFill>
          <a:schemeClr val="bg1">
            <a:lumMod val="85000"/>
          </a:schemeClr>
        </a:solidFill>
        <a:ln w="1270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err="1"/>
            <a:t>Utlandet</a:t>
          </a:r>
          <a:endParaRPr lang="en-US" sz="1100" kern="1200"/>
        </a:p>
      </dsp:txBody>
      <dsp:txXfrm>
        <a:off x="1609163" y="1568581"/>
        <a:ext cx="959501" cy="465275"/>
      </dsp:txXfrm>
    </dsp:sp>
    <dsp:sp modelId="{D93CA1E7-1E9E-40F3-BD60-501BD0921ADB}">
      <dsp:nvSpPr>
        <dsp:cNvPr id="0" name=""/>
        <dsp:cNvSpPr/>
      </dsp:nvSpPr>
      <dsp:spPr>
        <a:xfrm rot="17717070">
          <a:off x="2316586" y="1367197"/>
          <a:ext cx="930564" cy="26630"/>
        </a:xfrm>
        <a:custGeom>
          <a:avLst/>
          <a:gdLst/>
          <a:ahLst/>
          <a:cxnLst/>
          <a:rect l="0" t="0" r="0" b="0"/>
          <a:pathLst>
            <a:path>
              <a:moveTo>
                <a:pt x="0" y="13315"/>
              </a:moveTo>
              <a:lnTo>
                <a:pt x="930564" y="13315"/>
              </a:lnTo>
            </a:path>
          </a:pathLst>
        </a:custGeom>
        <a:noFill/>
        <a:ln w="1270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2758604" y="1357248"/>
        <a:ext cx="46528" cy="46528"/>
      </dsp:txXfrm>
    </dsp:sp>
    <dsp:sp modelId="{18E32922-F51C-40B9-BC52-EAC7F334A273}">
      <dsp:nvSpPr>
        <dsp:cNvPr id="0" name=""/>
        <dsp:cNvSpPr/>
      </dsp:nvSpPr>
      <dsp:spPr>
        <a:xfrm>
          <a:off x="2980596" y="712692"/>
          <a:ext cx="988451" cy="494225"/>
        </a:xfrm>
        <a:prstGeom prst="roundRect">
          <a:avLst>
            <a:gd name="adj" fmla="val 10000"/>
          </a:avLst>
        </a:prstGeom>
        <a:solidFill>
          <a:schemeClr val="accent3">
            <a:lumMod val="20000"/>
            <a:lumOff val="80000"/>
          </a:schemeClr>
        </a:solidFill>
        <a:ln w="1270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err="1"/>
            <a:t>Vare</a:t>
          </a:r>
          <a:endParaRPr lang="en-US" sz="1100" kern="1200"/>
        </a:p>
      </dsp:txBody>
      <dsp:txXfrm>
        <a:off x="2995071" y="727167"/>
        <a:ext cx="959501" cy="465275"/>
      </dsp:txXfrm>
    </dsp:sp>
    <dsp:sp modelId="{25A113C8-8072-43F9-89D4-9ED32583A830}">
      <dsp:nvSpPr>
        <dsp:cNvPr id="0" name=""/>
        <dsp:cNvSpPr/>
      </dsp:nvSpPr>
      <dsp:spPr>
        <a:xfrm rot="18770822">
          <a:off x="3876036" y="733355"/>
          <a:ext cx="581405" cy="26630"/>
        </a:xfrm>
        <a:custGeom>
          <a:avLst/>
          <a:gdLst/>
          <a:ahLst/>
          <a:cxnLst/>
          <a:rect l="0" t="0" r="0" b="0"/>
          <a:pathLst>
            <a:path>
              <a:moveTo>
                <a:pt x="0" y="13315"/>
              </a:moveTo>
              <a:lnTo>
                <a:pt x="581405" y="13315"/>
              </a:lnTo>
            </a:path>
          </a:pathLst>
        </a:custGeom>
        <a:noFill/>
        <a:ln w="1270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4152203" y="732135"/>
        <a:ext cx="29070" cy="29070"/>
      </dsp:txXfrm>
    </dsp:sp>
    <dsp:sp modelId="{03F1BF70-1109-4C0A-A4E7-965962B6CD26}">
      <dsp:nvSpPr>
        <dsp:cNvPr id="0" name=""/>
        <dsp:cNvSpPr/>
      </dsp:nvSpPr>
      <dsp:spPr>
        <a:xfrm>
          <a:off x="4364429" y="286422"/>
          <a:ext cx="988451" cy="494225"/>
        </a:xfrm>
        <a:prstGeom prst="roundRect">
          <a:avLst>
            <a:gd name="adj" fmla="val 10000"/>
          </a:avLst>
        </a:prstGeom>
        <a:solidFill>
          <a:schemeClr val="accent3">
            <a:lumMod val="20000"/>
            <a:lumOff val="80000"/>
          </a:schemeClr>
        </a:solidFill>
        <a:ln w="1270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err="1"/>
            <a:t>Uten</a:t>
          </a:r>
          <a:r>
            <a:rPr lang="en-US" sz="1100" kern="1200"/>
            <a:t> </a:t>
          </a:r>
          <a:r>
            <a:rPr lang="en-US" sz="1100" kern="1200" err="1"/>
            <a:t>fradrag</a:t>
          </a:r>
          <a:endParaRPr lang="en-US" sz="1100" kern="1200"/>
        </a:p>
      </dsp:txBody>
      <dsp:txXfrm>
        <a:off x="4378904" y="300897"/>
        <a:ext cx="959501" cy="465275"/>
      </dsp:txXfrm>
    </dsp:sp>
    <dsp:sp modelId="{3A41823B-86F3-406F-A054-374247C2ECAB}">
      <dsp:nvSpPr>
        <dsp:cNvPr id="0" name=""/>
        <dsp:cNvSpPr/>
      </dsp:nvSpPr>
      <dsp:spPr>
        <a:xfrm rot="19457599">
          <a:off x="5307114" y="378130"/>
          <a:ext cx="486912" cy="26630"/>
        </a:xfrm>
        <a:custGeom>
          <a:avLst/>
          <a:gdLst/>
          <a:ahLst/>
          <a:cxnLst/>
          <a:rect l="0" t="0" r="0" b="0"/>
          <a:pathLst>
            <a:path>
              <a:moveTo>
                <a:pt x="0" y="13315"/>
              </a:moveTo>
              <a:lnTo>
                <a:pt x="486912" y="13315"/>
              </a:lnTo>
            </a:path>
          </a:pathLst>
        </a:custGeom>
        <a:noFill/>
        <a:ln w="1270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5538398" y="379272"/>
        <a:ext cx="24345" cy="24345"/>
      </dsp:txXfrm>
    </dsp:sp>
    <dsp:sp modelId="{79A8959C-0267-4FB7-8B78-A9B4D9B32B12}">
      <dsp:nvSpPr>
        <dsp:cNvPr id="0" name=""/>
        <dsp:cNvSpPr/>
      </dsp:nvSpPr>
      <dsp:spPr>
        <a:xfrm>
          <a:off x="5748261" y="2242"/>
          <a:ext cx="988451" cy="494225"/>
        </a:xfrm>
        <a:prstGeom prst="roundRect">
          <a:avLst>
            <a:gd name="adj" fmla="val 10000"/>
          </a:avLst>
        </a:prstGeom>
        <a:solidFill>
          <a:srgbClr val="92D050"/>
        </a:solidFill>
        <a:ln w="1270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/>
            <a:t>20 = 25%</a:t>
          </a:r>
        </a:p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/>
            <a:t>27 = 15%</a:t>
          </a:r>
        </a:p>
      </dsp:txBody>
      <dsp:txXfrm>
        <a:off x="5762736" y="16717"/>
        <a:ext cx="959501" cy="465275"/>
      </dsp:txXfrm>
    </dsp:sp>
    <dsp:sp modelId="{547094B5-6C7F-4543-AC5F-6BB8797E1833}">
      <dsp:nvSpPr>
        <dsp:cNvPr id="0" name=""/>
        <dsp:cNvSpPr/>
      </dsp:nvSpPr>
      <dsp:spPr>
        <a:xfrm rot="2142401">
          <a:off x="5307114" y="662310"/>
          <a:ext cx="486912" cy="26630"/>
        </a:xfrm>
        <a:custGeom>
          <a:avLst/>
          <a:gdLst/>
          <a:ahLst/>
          <a:cxnLst/>
          <a:rect l="0" t="0" r="0" b="0"/>
          <a:pathLst>
            <a:path>
              <a:moveTo>
                <a:pt x="0" y="13315"/>
              </a:moveTo>
              <a:lnTo>
                <a:pt x="486912" y="13315"/>
              </a:lnTo>
            </a:path>
          </a:pathLst>
        </a:custGeom>
        <a:noFill/>
        <a:ln w="1270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500" kern="1200"/>
        </a:p>
      </dsp:txBody>
      <dsp:txXfrm>
        <a:off x="5538398" y="663452"/>
        <a:ext cx="24345" cy="24345"/>
      </dsp:txXfrm>
    </dsp:sp>
    <dsp:sp modelId="{B850CD55-517E-4C23-963D-66006E75A232}">
      <dsp:nvSpPr>
        <dsp:cNvPr id="0" name=""/>
        <dsp:cNvSpPr/>
      </dsp:nvSpPr>
      <dsp:spPr>
        <a:xfrm>
          <a:off x="5748261" y="570602"/>
          <a:ext cx="988451" cy="494225"/>
        </a:xfrm>
        <a:prstGeom prst="roundRect">
          <a:avLst>
            <a:gd name="adj" fmla="val 10000"/>
          </a:avLst>
        </a:prstGeom>
        <a:solidFill>
          <a:schemeClr val="accent3">
            <a:lumMod val="20000"/>
            <a:lumOff val="80000"/>
          </a:schemeClr>
        </a:solidFill>
        <a:ln w="1270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/>
            <a:t>0 = 0%</a:t>
          </a:r>
        </a:p>
      </dsp:txBody>
      <dsp:txXfrm>
        <a:off x="5762736" y="585077"/>
        <a:ext cx="959501" cy="465275"/>
      </dsp:txXfrm>
    </dsp:sp>
    <dsp:sp modelId="{E0A73A1B-2B97-45BA-8A57-D9AA1DC86B87}">
      <dsp:nvSpPr>
        <dsp:cNvPr id="0" name=""/>
        <dsp:cNvSpPr/>
      </dsp:nvSpPr>
      <dsp:spPr>
        <a:xfrm rot="2829178">
          <a:off x="3876036" y="1159624"/>
          <a:ext cx="581405" cy="26630"/>
        </a:xfrm>
        <a:custGeom>
          <a:avLst/>
          <a:gdLst/>
          <a:ahLst/>
          <a:cxnLst/>
          <a:rect l="0" t="0" r="0" b="0"/>
          <a:pathLst>
            <a:path>
              <a:moveTo>
                <a:pt x="0" y="13315"/>
              </a:moveTo>
              <a:lnTo>
                <a:pt x="581405" y="13315"/>
              </a:lnTo>
            </a:path>
          </a:pathLst>
        </a:custGeom>
        <a:noFill/>
        <a:ln w="1270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4152203" y="1158405"/>
        <a:ext cx="29070" cy="29070"/>
      </dsp:txXfrm>
    </dsp:sp>
    <dsp:sp modelId="{FB5F17FA-01F3-4DCE-AFEF-3373A9A37BF6}">
      <dsp:nvSpPr>
        <dsp:cNvPr id="0" name=""/>
        <dsp:cNvSpPr/>
      </dsp:nvSpPr>
      <dsp:spPr>
        <a:xfrm>
          <a:off x="4364429" y="1138962"/>
          <a:ext cx="988451" cy="494225"/>
        </a:xfrm>
        <a:prstGeom prst="roundRect">
          <a:avLst>
            <a:gd name="adj" fmla="val 10000"/>
          </a:avLst>
        </a:prstGeom>
        <a:solidFill>
          <a:schemeClr val="accent3">
            <a:lumMod val="20000"/>
            <a:lumOff val="80000"/>
          </a:schemeClr>
        </a:solidFill>
        <a:ln w="1270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/>
            <a:t>Med </a:t>
          </a:r>
          <a:r>
            <a:rPr lang="en-US" sz="1100" kern="1200" err="1"/>
            <a:t>fradrag</a:t>
          </a:r>
          <a:endParaRPr lang="en-US" sz="1100" kern="1200"/>
        </a:p>
      </dsp:txBody>
      <dsp:txXfrm>
        <a:off x="4378904" y="1153437"/>
        <a:ext cx="959501" cy="465275"/>
      </dsp:txXfrm>
    </dsp:sp>
    <dsp:sp modelId="{40279CE7-C3F4-4DF6-A02A-837932E68076}">
      <dsp:nvSpPr>
        <dsp:cNvPr id="0" name=""/>
        <dsp:cNvSpPr/>
      </dsp:nvSpPr>
      <dsp:spPr>
        <a:xfrm>
          <a:off x="5352881" y="1372759"/>
          <a:ext cx="395380" cy="26630"/>
        </a:xfrm>
        <a:custGeom>
          <a:avLst/>
          <a:gdLst/>
          <a:ahLst/>
          <a:cxnLst/>
          <a:rect l="0" t="0" r="0" b="0"/>
          <a:pathLst>
            <a:path>
              <a:moveTo>
                <a:pt x="0" y="13315"/>
              </a:moveTo>
              <a:lnTo>
                <a:pt x="395380" y="13315"/>
              </a:lnTo>
            </a:path>
          </a:pathLst>
        </a:custGeom>
        <a:noFill/>
        <a:ln w="1270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5540686" y="1376190"/>
        <a:ext cx="19769" cy="19769"/>
      </dsp:txXfrm>
    </dsp:sp>
    <dsp:sp modelId="{35148660-7C1E-4AB3-94A2-9D39BDC2272C}">
      <dsp:nvSpPr>
        <dsp:cNvPr id="0" name=""/>
        <dsp:cNvSpPr/>
      </dsp:nvSpPr>
      <dsp:spPr>
        <a:xfrm>
          <a:off x="5748261" y="1138962"/>
          <a:ext cx="988451" cy="494225"/>
        </a:xfrm>
        <a:prstGeom prst="roundRect">
          <a:avLst>
            <a:gd name="adj" fmla="val 10000"/>
          </a:avLst>
        </a:prstGeom>
        <a:solidFill>
          <a:schemeClr val="accent3">
            <a:lumMod val="20000"/>
            <a:lumOff val="80000"/>
          </a:schemeClr>
        </a:solidFill>
        <a:ln w="1270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/>
            <a:t>21 = 25%</a:t>
          </a:r>
          <a:br>
            <a:rPr lang="en-US" sz="1100" kern="1200"/>
          </a:br>
          <a:r>
            <a:rPr lang="en-US" sz="1100" kern="1200"/>
            <a:t>22 = 15%</a:t>
          </a:r>
          <a:br>
            <a:rPr lang="en-US" sz="1100" kern="1200"/>
          </a:br>
          <a:r>
            <a:rPr lang="en-US" sz="1100" kern="1200"/>
            <a:t>23 =  0% </a:t>
          </a:r>
        </a:p>
      </dsp:txBody>
      <dsp:txXfrm>
        <a:off x="5762736" y="1153437"/>
        <a:ext cx="959501" cy="465275"/>
      </dsp:txXfrm>
    </dsp:sp>
    <dsp:sp modelId="{06917447-A603-4E65-9FC2-D499E1F092C8}">
      <dsp:nvSpPr>
        <dsp:cNvPr id="0" name=""/>
        <dsp:cNvSpPr/>
      </dsp:nvSpPr>
      <dsp:spPr>
        <a:xfrm rot="3917293">
          <a:off x="2306503" y="2219736"/>
          <a:ext cx="950730" cy="26630"/>
        </a:xfrm>
        <a:custGeom>
          <a:avLst/>
          <a:gdLst/>
          <a:ahLst/>
          <a:cxnLst/>
          <a:rect l="0" t="0" r="0" b="0"/>
          <a:pathLst>
            <a:path>
              <a:moveTo>
                <a:pt x="0" y="13315"/>
              </a:moveTo>
              <a:lnTo>
                <a:pt x="950730" y="13315"/>
              </a:lnTo>
            </a:path>
          </a:pathLst>
        </a:custGeom>
        <a:noFill/>
        <a:ln w="1270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2758100" y="2209283"/>
        <a:ext cx="47536" cy="47536"/>
      </dsp:txXfrm>
    </dsp:sp>
    <dsp:sp modelId="{12149BDC-7429-4A3D-9F11-5B0D56CBA094}">
      <dsp:nvSpPr>
        <dsp:cNvPr id="0" name=""/>
        <dsp:cNvSpPr/>
      </dsp:nvSpPr>
      <dsp:spPr>
        <a:xfrm>
          <a:off x="2980596" y="2417771"/>
          <a:ext cx="988451" cy="494225"/>
        </a:xfrm>
        <a:prstGeom prst="roundRect">
          <a:avLst>
            <a:gd name="adj" fmla="val 10000"/>
          </a:avLst>
        </a:prstGeom>
        <a:solidFill>
          <a:schemeClr val="accent1">
            <a:lumMod val="20000"/>
            <a:lumOff val="80000"/>
          </a:schemeClr>
        </a:solidFill>
        <a:ln w="1270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err="1"/>
            <a:t>Tjeneste</a:t>
          </a:r>
          <a:endParaRPr lang="en-US" sz="1100" kern="1200"/>
        </a:p>
      </dsp:txBody>
      <dsp:txXfrm>
        <a:off x="2995071" y="2432246"/>
        <a:ext cx="959501" cy="465275"/>
      </dsp:txXfrm>
    </dsp:sp>
    <dsp:sp modelId="{4E210524-63B2-46BA-88BF-AC994F784DB7}">
      <dsp:nvSpPr>
        <dsp:cNvPr id="0" name=""/>
        <dsp:cNvSpPr/>
      </dsp:nvSpPr>
      <dsp:spPr>
        <a:xfrm rot="18770822">
          <a:off x="3876036" y="2438434"/>
          <a:ext cx="581405" cy="26630"/>
        </a:xfrm>
        <a:custGeom>
          <a:avLst/>
          <a:gdLst/>
          <a:ahLst/>
          <a:cxnLst/>
          <a:rect l="0" t="0" r="0" b="0"/>
          <a:pathLst>
            <a:path>
              <a:moveTo>
                <a:pt x="0" y="13315"/>
              </a:moveTo>
              <a:lnTo>
                <a:pt x="581405" y="13315"/>
              </a:lnTo>
            </a:path>
          </a:pathLst>
        </a:custGeom>
        <a:noFill/>
        <a:ln w="1270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4152203" y="2437214"/>
        <a:ext cx="29070" cy="29070"/>
      </dsp:txXfrm>
    </dsp:sp>
    <dsp:sp modelId="{4B83A63A-0E02-44BF-83A2-84E9F47A9FCB}">
      <dsp:nvSpPr>
        <dsp:cNvPr id="0" name=""/>
        <dsp:cNvSpPr/>
      </dsp:nvSpPr>
      <dsp:spPr>
        <a:xfrm>
          <a:off x="4364429" y="1991501"/>
          <a:ext cx="988451" cy="494225"/>
        </a:xfrm>
        <a:prstGeom prst="roundRect">
          <a:avLst>
            <a:gd name="adj" fmla="val 10000"/>
          </a:avLst>
        </a:prstGeom>
        <a:solidFill>
          <a:schemeClr val="accent1">
            <a:lumMod val="20000"/>
            <a:lumOff val="80000"/>
          </a:schemeClr>
        </a:solidFill>
        <a:ln w="1270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err="1"/>
            <a:t>Uten</a:t>
          </a:r>
          <a:r>
            <a:rPr lang="en-US" sz="1100" kern="1200"/>
            <a:t> </a:t>
          </a:r>
          <a:r>
            <a:rPr lang="en-US" sz="1100" kern="1200" err="1"/>
            <a:t>fradrag</a:t>
          </a:r>
          <a:endParaRPr lang="en-US" sz="1100" kern="1200"/>
        </a:p>
      </dsp:txBody>
      <dsp:txXfrm>
        <a:off x="4378904" y="2005976"/>
        <a:ext cx="959501" cy="465275"/>
      </dsp:txXfrm>
    </dsp:sp>
    <dsp:sp modelId="{48694CCC-1391-4EF4-9C30-31C1DA88B29F}">
      <dsp:nvSpPr>
        <dsp:cNvPr id="0" name=""/>
        <dsp:cNvSpPr/>
      </dsp:nvSpPr>
      <dsp:spPr>
        <a:xfrm rot="19457599">
          <a:off x="5307114" y="2083209"/>
          <a:ext cx="486912" cy="26630"/>
        </a:xfrm>
        <a:custGeom>
          <a:avLst/>
          <a:gdLst/>
          <a:ahLst/>
          <a:cxnLst/>
          <a:rect l="0" t="0" r="0" b="0"/>
          <a:pathLst>
            <a:path>
              <a:moveTo>
                <a:pt x="0" y="13315"/>
              </a:moveTo>
              <a:lnTo>
                <a:pt x="486912" y="13315"/>
              </a:lnTo>
            </a:path>
          </a:pathLst>
        </a:custGeom>
        <a:noFill/>
        <a:ln w="1270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5538398" y="2084351"/>
        <a:ext cx="24345" cy="24345"/>
      </dsp:txXfrm>
    </dsp:sp>
    <dsp:sp modelId="{2AB8D2D3-677E-4694-8286-F696A483FF85}">
      <dsp:nvSpPr>
        <dsp:cNvPr id="0" name=""/>
        <dsp:cNvSpPr/>
      </dsp:nvSpPr>
      <dsp:spPr>
        <a:xfrm>
          <a:off x="5748261" y="1707321"/>
          <a:ext cx="988451" cy="494225"/>
        </a:xfrm>
        <a:prstGeom prst="roundRect">
          <a:avLst>
            <a:gd name="adj" fmla="val 10000"/>
          </a:avLst>
        </a:prstGeom>
        <a:solidFill>
          <a:srgbClr val="92D050"/>
        </a:solidFill>
        <a:ln w="1270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/>
            <a:t>3T = 25%</a:t>
          </a:r>
        </a:p>
      </dsp:txBody>
      <dsp:txXfrm>
        <a:off x="5762736" y="1721796"/>
        <a:ext cx="959501" cy="465275"/>
      </dsp:txXfrm>
    </dsp:sp>
    <dsp:sp modelId="{27E3EA24-5491-4C95-B15E-8D978E94B454}">
      <dsp:nvSpPr>
        <dsp:cNvPr id="0" name=""/>
        <dsp:cNvSpPr/>
      </dsp:nvSpPr>
      <dsp:spPr>
        <a:xfrm rot="2142401">
          <a:off x="5307114" y="2367389"/>
          <a:ext cx="486912" cy="26630"/>
        </a:xfrm>
        <a:custGeom>
          <a:avLst/>
          <a:gdLst/>
          <a:ahLst/>
          <a:cxnLst/>
          <a:rect l="0" t="0" r="0" b="0"/>
          <a:pathLst>
            <a:path>
              <a:moveTo>
                <a:pt x="0" y="13315"/>
              </a:moveTo>
              <a:lnTo>
                <a:pt x="486912" y="13315"/>
              </a:lnTo>
            </a:path>
          </a:pathLst>
        </a:custGeom>
        <a:noFill/>
        <a:ln w="1270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500" kern="1200"/>
        </a:p>
      </dsp:txBody>
      <dsp:txXfrm>
        <a:off x="5538398" y="2368531"/>
        <a:ext cx="24345" cy="24345"/>
      </dsp:txXfrm>
    </dsp:sp>
    <dsp:sp modelId="{178EC08F-62C3-4A9B-846C-4004F31D9990}">
      <dsp:nvSpPr>
        <dsp:cNvPr id="0" name=""/>
        <dsp:cNvSpPr/>
      </dsp:nvSpPr>
      <dsp:spPr>
        <a:xfrm>
          <a:off x="5748261" y="2275681"/>
          <a:ext cx="988451" cy="494225"/>
        </a:xfrm>
        <a:prstGeom prst="roundRect">
          <a:avLst>
            <a:gd name="adj" fmla="val 10000"/>
          </a:avLst>
        </a:prstGeom>
        <a:solidFill>
          <a:srgbClr val="B6C8E9">
            <a:lumMod val="20000"/>
            <a:lumOff val="80000"/>
          </a:srgbClr>
        </a:solidFill>
        <a:ln w="1270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/>
              <a:ea typeface="+mn-ea"/>
              <a:cs typeface="+mn-cs"/>
            </a:rPr>
            <a:t>0 = 0%</a:t>
          </a:r>
        </a:p>
      </dsp:txBody>
      <dsp:txXfrm>
        <a:off x="5762736" y="2290156"/>
        <a:ext cx="959501" cy="465275"/>
      </dsp:txXfrm>
    </dsp:sp>
    <dsp:sp modelId="{57389D64-B410-41EA-9260-CE8B946EA0F2}">
      <dsp:nvSpPr>
        <dsp:cNvPr id="0" name=""/>
        <dsp:cNvSpPr/>
      </dsp:nvSpPr>
      <dsp:spPr>
        <a:xfrm rot="2829178">
          <a:off x="3876036" y="2864703"/>
          <a:ext cx="581405" cy="26630"/>
        </a:xfrm>
        <a:custGeom>
          <a:avLst/>
          <a:gdLst/>
          <a:ahLst/>
          <a:cxnLst/>
          <a:rect l="0" t="0" r="0" b="0"/>
          <a:pathLst>
            <a:path>
              <a:moveTo>
                <a:pt x="0" y="13315"/>
              </a:moveTo>
              <a:lnTo>
                <a:pt x="581405" y="13315"/>
              </a:lnTo>
            </a:path>
          </a:pathLst>
        </a:custGeom>
        <a:noFill/>
        <a:ln w="1270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4152203" y="2863484"/>
        <a:ext cx="29070" cy="29070"/>
      </dsp:txXfrm>
    </dsp:sp>
    <dsp:sp modelId="{CDFF1039-143D-446D-B7BC-5E69F9DA949F}">
      <dsp:nvSpPr>
        <dsp:cNvPr id="0" name=""/>
        <dsp:cNvSpPr/>
      </dsp:nvSpPr>
      <dsp:spPr>
        <a:xfrm>
          <a:off x="4364429" y="2844041"/>
          <a:ext cx="988451" cy="494225"/>
        </a:xfrm>
        <a:prstGeom prst="roundRect">
          <a:avLst>
            <a:gd name="adj" fmla="val 10000"/>
          </a:avLst>
        </a:prstGeom>
        <a:solidFill>
          <a:schemeClr val="accent1">
            <a:lumMod val="20000"/>
            <a:lumOff val="80000"/>
          </a:schemeClr>
        </a:solidFill>
        <a:ln w="1270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/>
            <a:t>Med </a:t>
          </a:r>
          <a:r>
            <a:rPr lang="en-US" sz="1100" kern="1200" err="1"/>
            <a:t>fradrag</a:t>
          </a:r>
          <a:endParaRPr lang="en-US" sz="1100" kern="1200"/>
        </a:p>
      </dsp:txBody>
      <dsp:txXfrm>
        <a:off x="4378904" y="2858516"/>
        <a:ext cx="959501" cy="465275"/>
      </dsp:txXfrm>
    </dsp:sp>
    <dsp:sp modelId="{3DA6CF82-27AE-47F7-A190-D0E2EE674A4B}">
      <dsp:nvSpPr>
        <dsp:cNvPr id="0" name=""/>
        <dsp:cNvSpPr/>
      </dsp:nvSpPr>
      <dsp:spPr>
        <a:xfrm>
          <a:off x="5352881" y="3077838"/>
          <a:ext cx="395380" cy="26630"/>
        </a:xfrm>
        <a:custGeom>
          <a:avLst/>
          <a:gdLst/>
          <a:ahLst/>
          <a:cxnLst/>
          <a:rect l="0" t="0" r="0" b="0"/>
          <a:pathLst>
            <a:path>
              <a:moveTo>
                <a:pt x="0" y="13315"/>
              </a:moveTo>
              <a:lnTo>
                <a:pt x="395380" y="13315"/>
              </a:lnTo>
            </a:path>
          </a:pathLst>
        </a:custGeom>
        <a:noFill/>
        <a:ln w="1270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5540686" y="3081269"/>
        <a:ext cx="19769" cy="19769"/>
      </dsp:txXfrm>
    </dsp:sp>
    <dsp:sp modelId="{ED277023-C623-43E2-861F-874ECECE1A17}">
      <dsp:nvSpPr>
        <dsp:cNvPr id="0" name=""/>
        <dsp:cNvSpPr/>
      </dsp:nvSpPr>
      <dsp:spPr>
        <a:xfrm>
          <a:off x="5748261" y="2844041"/>
          <a:ext cx="988451" cy="494225"/>
        </a:xfrm>
        <a:prstGeom prst="roundRect">
          <a:avLst>
            <a:gd name="adj" fmla="val 10000"/>
          </a:avLst>
        </a:prstGeom>
        <a:solidFill>
          <a:schemeClr val="accent1">
            <a:lumMod val="20000"/>
            <a:lumOff val="80000"/>
          </a:schemeClr>
        </a:solidFill>
        <a:ln w="1270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/>
            <a:t>3F = 25%</a:t>
          </a:r>
        </a:p>
      </dsp:txBody>
      <dsp:txXfrm>
        <a:off x="5762736" y="2858516"/>
        <a:ext cx="959501" cy="465275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82625D8-8EC9-4AD1-9400-7C9934872CC1}">
      <dsp:nvSpPr>
        <dsp:cNvPr id="0" name=""/>
        <dsp:cNvSpPr/>
      </dsp:nvSpPr>
      <dsp:spPr>
        <a:xfrm>
          <a:off x="0" y="477137"/>
          <a:ext cx="8418747" cy="14175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53388" tIns="416560" rIns="653388" bIns="14224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2000" kern="1200"/>
            <a:t>Innhold: Hvordan utføre oppgaver som fagrekvirent i Unit4 ERP</a:t>
          </a:r>
          <a:endParaRPr lang="en-US" sz="2000" kern="1200"/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err="1"/>
            <a:t>Når</a:t>
          </a:r>
          <a:r>
            <a:rPr lang="en-US" sz="2000" kern="1200"/>
            <a:t>: </a:t>
          </a:r>
          <a:r>
            <a:rPr lang="en-US" sz="2000" kern="1200" err="1"/>
            <a:t>Tilgjengelig</a:t>
          </a:r>
          <a:r>
            <a:rPr lang="en-US" sz="2000" kern="1200"/>
            <a:t> </a:t>
          </a:r>
          <a:r>
            <a:rPr lang="en-US" sz="2000" kern="1200" err="1"/>
            <a:t>fra</a:t>
          </a:r>
          <a:r>
            <a:rPr lang="en-US" sz="2000" kern="1200"/>
            <a:t> 1.desember</a:t>
          </a:r>
        </a:p>
      </dsp:txBody>
      <dsp:txXfrm>
        <a:off x="0" y="477137"/>
        <a:ext cx="8418747" cy="1417500"/>
      </dsp:txXfrm>
    </dsp:sp>
    <dsp:sp modelId="{623783B2-9564-4800-B02C-8290F499A476}">
      <dsp:nvSpPr>
        <dsp:cNvPr id="0" name=""/>
        <dsp:cNvSpPr/>
      </dsp:nvSpPr>
      <dsp:spPr>
        <a:xfrm>
          <a:off x="419704" y="181937"/>
          <a:ext cx="7995632" cy="5904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2746" tIns="0" rIns="222746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000" kern="1200"/>
            <a:t>DFØ E-læring: Systemopplæring for fagrekvirent </a:t>
          </a:r>
          <a:endParaRPr lang="en-US" sz="2000" kern="1200"/>
        </a:p>
      </dsp:txBody>
      <dsp:txXfrm>
        <a:off x="448525" y="210758"/>
        <a:ext cx="7937990" cy="532758"/>
      </dsp:txXfrm>
    </dsp:sp>
    <dsp:sp modelId="{21289680-A6AC-4101-91B9-5FDB0CAA5D7B}">
      <dsp:nvSpPr>
        <dsp:cNvPr id="0" name=""/>
        <dsp:cNvSpPr/>
      </dsp:nvSpPr>
      <dsp:spPr>
        <a:xfrm>
          <a:off x="0" y="2297837"/>
          <a:ext cx="8418747" cy="1134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53388" tIns="416560" rIns="653388" bIns="14224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2000" kern="1200"/>
            <a:t>Innhold: Refleksjoner, viktige momenter og spørsmål etter DFØ Video E-læring</a:t>
          </a:r>
          <a:endParaRPr lang="en-US" sz="2000" kern="1200"/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/>
            <a:t>Når: 15.12 kl. 10-11:30</a:t>
          </a:r>
        </a:p>
      </dsp:txBody>
      <dsp:txXfrm>
        <a:off x="0" y="2297837"/>
        <a:ext cx="8418747" cy="1134000"/>
      </dsp:txXfrm>
    </dsp:sp>
    <dsp:sp modelId="{4DC7D8D6-0404-4FC4-8CF1-ACF247F78FEA}">
      <dsp:nvSpPr>
        <dsp:cNvPr id="0" name=""/>
        <dsp:cNvSpPr/>
      </dsp:nvSpPr>
      <dsp:spPr>
        <a:xfrm>
          <a:off x="420937" y="2002637"/>
          <a:ext cx="5893122" cy="5904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2746" tIns="0" rIns="222746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000" kern="1200"/>
            <a:t>NTNU kurs 3:  </a:t>
          </a:r>
          <a:endParaRPr lang="en-US" sz="2000" kern="1200"/>
        </a:p>
      </dsp:txBody>
      <dsp:txXfrm>
        <a:off x="449758" y="2031458"/>
        <a:ext cx="5835480" cy="53275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2">
  <dgm:title val=""/>
  <dgm:desc val=""/>
  <dgm:catLst>
    <dgm:cat type="hierarchy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 val="exact"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ptType="node" refType="h"/>
      <dgm:constr type="w" for="des" ptType="node" refType="h" refFor="des" refPtType="node" fact="2"/>
      <dgm:constr type="sibSp" refType="h" refFor="des" refPtType="node" op="equ" fact="0.15"/>
      <dgm:constr type="sibSp" for="des" forName="level2hierChild" refType="h" refFor="des" refPtType="node" op="equ" fact="0.15"/>
      <dgm:constr type="sibSp" for="des" forName="level3hierChild" refType="h" refFor="des" refPtType="node" op="equ" fact="0.15"/>
      <dgm:constr type="sp" for="des" forName="root1" refType="w" refFor="des" refPtType="node" fact="0.4"/>
      <dgm:constr type="sp" for="des" forName="root2" refType="sp" refFor="des" refForName="root1" op="equ"/>
      <dgm:constr type="primFontSz" for="des" ptType="node" op="equ" val="65"/>
      <dgm:constr type="primFontSz" for="des" forName="connTx" op="equ" val="55"/>
      <dgm:constr type="primFontSz" for="des" forName="connTx" refType="primFontSz" refFor="des" refPtType="node" op="lte" fact="0.8"/>
    </dgm:constrLst>
    <dgm:ruleLst/>
    <dgm:forEach name="Name3" axis="ch">
      <dgm:forEach name="Name4" axis="self" ptType="node">
        <dgm:layoutNode name="root1">
          <dgm:choose name="Name5">
            <dgm:if name="Name6" func="var" arg="dir" op="equ" val="norm">
              <dgm:alg type="hierRoot">
                <dgm:param type="hierAlign" val="lCtrCh"/>
              </dgm:alg>
            </dgm:if>
            <dgm:else name="Name7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/>
          <dgm:layoutNode name="LevelOneTextNode" styleLbl="node0">
            <dgm:varLst>
              <dgm:chPref val="3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  <dgm:layoutNode name="level2hierChild">
            <dgm:choose name="Name8">
              <dgm:if name="Name9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0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eat" axis="ch">
              <dgm:forEach name="Name11" axis="self" ptType="parTrans" cnt="1">
                <dgm:layoutNode name="conn2-1">
                  <dgm:choose name="Name12">
                    <dgm:if name="Name13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</dgm:alg>
                    </dgm:if>
                    <dgm:else name="Name14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ruleLst/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5" axis="self" ptType="node">
                <dgm:layoutNode name="root2">
                  <dgm:choose name="Name16">
                    <dgm:if name="Name17" func="var" arg="dir" op="equ" val="norm">
                      <dgm:alg type="hierRoot">
                        <dgm:param type="hierAlign" val="lCtrCh"/>
                      </dgm:alg>
                    </dgm:if>
                    <dgm:else name="Name18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oundRect" r:blip="">
                      <dgm:adjLst>
                        <dgm:adj idx="1" val="0.1"/>
                      </dgm:adjLst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level3hierChild">
                    <dgm:choose name="Name19">
                      <dgm:if name="Name20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1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22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ierarchy2">
  <dgm:title val=""/>
  <dgm:desc val=""/>
  <dgm:catLst>
    <dgm:cat type="hierarchy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 val="exact"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ptType="node" refType="h"/>
      <dgm:constr type="w" for="des" ptType="node" refType="h" refFor="des" refPtType="node" fact="2"/>
      <dgm:constr type="sibSp" refType="h" refFor="des" refPtType="node" op="equ" fact="0.15"/>
      <dgm:constr type="sibSp" for="des" forName="level2hierChild" refType="h" refFor="des" refPtType="node" op="equ" fact="0.15"/>
      <dgm:constr type="sibSp" for="des" forName="level3hierChild" refType="h" refFor="des" refPtType="node" op="equ" fact="0.15"/>
      <dgm:constr type="sp" for="des" forName="root1" refType="w" refFor="des" refPtType="node" fact="0.4"/>
      <dgm:constr type="sp" for="des" forName="root2" refType="sp" refFor="des" refForName="root1" op="equ"/>
      <dgm:constr type="primFontSz" for="des" ptType="node" op="equ" val="65"/>
      <dgm:constr type="primFontSz" for="des" forName="connTx" op="equ" val="55"/>
      <dgm:constr type="primFontSz" for="des" forName="connTx" refType="primFontSz" refFor="des" refPtType="node" op="lte" fact="0.8"/>
    </dgm:constrLst>
    <dgm:ruleLst/>
    <dgm:forEach name="Name3" axis="ch">
      <dgm:forEach name="Name4" axis="self" ptType="node">
        <dgm:layoutNode name="root1">
          <dgm:choose name="Name5">
            <dgm:if name="Name6" func="var" arg="dir" op="equ" val="norm">
              <dgm:alg type="hierRoot">
                <dgm:param type="hierAlign" val="lCtrCh"/>
              </dgm:alg>
            </dgm:if>
            <dgm:else name="Name7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/>
          <dgm:layoutNode name="LevelOneTextNode" styleLbl="node0">
            <dgm:varLst>
              <dgm:chPref val="3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  <dgm:layoutNode name="level2hierChild">
            <dgm:choose name="Name8">
              <dgm:if name="Name9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0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eat" axis="ch">
              <dgm:forEach name="Name11" axis="self" ptType="parTrans" cnt="1">
                <dgm:layoutNode name="conn2-1">
                  <dgm:choose name="Name12">
                    <dgm:if name="Name13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</dgm:alg>
                    </dgm:if>
                    <dgm:else name="Name14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ruleLst/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5" axis="self" ptType="node">
                <dgm:layoutNode name="root2">
                  <dgm:choose name="Name16">
                    <dgm:if name="Name17" func="var" arg="dir" op="equ" val="norm">
                      <dgm:alg type="hierRoot">
                        <dgm:param type="hierAlign" val="lCtrCh"/>
                      </dgm:alg>
                    </dgm:if>
                    <dgm:else name="Name18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oundRect" r:blip="">
                      <dgm:adjLst>
                        <dgm:adj idx="1" val="0.1"/>
                      </dgm:adjLst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level3hierChild">
                    <dgm:choose name="Name19">
                      <dgm:if name="Name20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1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22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9B5460C-0593-4204-B744-C4DC7BB971AF}" type="datetimeFigureOut">
              <a:rPr lang="nb-NO" smtClean="0"/>
              <a:t>21.11.2022</a:t>
            </a:fld>
            <a:endParaRPr lang="nb-NO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211CE02-016B-4607-B79A-B59DDB6195E9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9052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704899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1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057121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1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281257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DA82D5-02B8-4079-9D1A-0A0654A4C4D4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7278977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1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1738832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559CD87-CB3F-43AD-B570-7AC3017860C3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7381655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DA82D5-02B8-4079-9D1A-0A0654A4C4D4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1611448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2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5365746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BB6F526-5F83-4071-AA89-73E675B18C10}" type="slidenum">
              <a:rPr lang="nb-NO" smtClean="0"/>
              <a:t>2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470977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3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860420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3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2286145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err="1"/>
              <a:t>Spørr</a:t>
            </a:r>
            <a:r>
              <a:rPr lang="nb-NO"/>
              <a:t> gjerne </a:t>
            </a:r>
            <a:r>
              <a:rPr lang="nb-NO" err="1"/>
              <a:t>undeveis</a:t>
            </a:r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192949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3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3776601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3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4884301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3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7552368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3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9742153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ctr"/>
            <a:r>
              <a:rPr lang="nb-NO"/>
              <a:t>Viktig at de tar varemottak mot det som kommer i 2022</a:t>
            </a:r>
          </a:p>
          <a:p>
            <a:pPr algn="ctr"/>
            <a:r>
              <a:rPr lang="nb-NO"/>
              <a:t>?</a:t>
            </a:r>
          </a:p>
          <a:p>
            <a:pPr algn="ctr"/>
            <a:r>
              <a:rPr lang="nb-NO"/>
              <a:t>Nevne brukerstøtte (åpne </a:t>
            </a:r>
            <a:r>
              <a:rPr lang="nb-NO" err="1"/>
              <a:t>teamsrom</a:t>
            </a:r>
            <a:r>
              <a:rPr lang="nb-NO"/>
              <a:t> fra nyttår – fra sentralt. +  lokale innkjøpere + prosessrådgivere </a:t>
            </a:r>
          </a:p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3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60080833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3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8255977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4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68874637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E073E2-DE77-4445-980F-3DE415846DB5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34001605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E073E2-DE77-4445-980F-3DE415846DB5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2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56012214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E073E2-DE77-4445-980F-3DE415846DB5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3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477451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36788354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4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6514554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5003184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E073E2-DE77-4445-980F-3DE415846DB5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5526226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EC1D193-156D-49E0-8F8B-B7BDA735AEBD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4626151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825497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4493542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144692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.xml"/><Relationship Id="rId4" Type="http://schemas.openxmlformats.org/officeDocument/2006/relationships/image" Target="../media/image5.emf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368315" y="2008061"/>
            <a:ext cx="7772400" cy="675821"/>
          </a:xfrm>
          <a:prstGeom prst="rect">
            <a:avLst/>
          </a:prstGeo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368315" y="2733866"/>
            <a:ext cx="7772400" cy="131445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10001595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9838506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  <a:prstGeom prst="rect">
            <a:avLst/>
          </a:prstGeo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03183196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488701"/>
            <a:ext cx="8371762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9" y="238125"/>
            <a:ext cx="8371762" cy="5238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275160"/>
            <a:ext cx="8374062" cy="350924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E3FFE4A-BC3E-4A6F-A2F7-DAF075A045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0A7409F-6336-4A34-BB77-9D5FCA08C53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E3CCE21-0F43-465D-A95C-235E160BA08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64808436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368315" y="2008061"/>
            <a:ext cx="7772400" cy="675821"/>
          </a:xfr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368315" y="2733866"/>
            <a:ext cx="7772400" cy="131445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33704807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41800" y="2305050"/>
            <a:ext cx="647700" cy="523875"/>
          </a:xfrm>
          <a:prstGeom prst="rect">
            <a:avLst/>
          </a:prstGeom>
        </p:spPr>
      </p:pic>
      <p:pic>
        <p:nvPicPr>
          <p:cNvPr id="8" name="Bild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41800" y="2305050"/>
            <a:ext cx="647700" cy="523875"/>
          </a:xfrm>
          <a:prstGeom prst="rect">
            <a:avLst/>
          </a:prstGeom>
        </p:spPr>
      </p:pic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9" name="Tittel 1">
            <a:extLst>
              <a:ext uri="{FF2B5EF4-FFF2-40B4-BE49-F238E27FC236}">
                <a16:creationId xmlns:a16="http://schemas.microsoft.com/office/drawing/2014/main" id="{2344BB71-0781-BE4B-991A-D131BC6BED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573" y="205979"/>
            <a:ext cx="8381997" cy="646331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0" name="Plassholder for innhold 2">
            <a:extLst>
              <a:ext uri="{FF2B5EF4-FFF2-40B4-BE49-F238E27FC236}">
                <a16:creationId xmlns:a16="http://schemas.microsoft.com/office/drawing/2014/main" id="{8AF6411C-65FD-A24C-9C3D-9E5091552B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6573" y="928914"/>
            <a:ext cx="8381997" cy="3665709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12339908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91532078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84030938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E56B820D-AB7F-5A44-8020-5D09944AA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19" y="205979"/>
            <a:ext cx="8229600" cy="646331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AE7B768E-548A-B44A-978C-328D3FD0988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80219" y="1444342"/>
            <a:ext cx="4040188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37E158BE-6530-394F-B377-3FE8EA1DC6D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468045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9F076E42-9075-F143-9FC0-531C50D5489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468045" y="1444342"/>
            <a:ext cx="4041775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BF3EDB8E-E4B3-2B49-9493-A3FEF0A85B7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0218" y="964521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5301017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237724250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305861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5" y="298339"/>
            <a:ext cx="8418747" cy="648512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1385" y="1010266"/>
            <a:ext cx="8418747" cy="3613774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06001982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78897530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29079169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99850588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42799104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368315" y="2008061"/>
            <a:ext cx="7772400" cy="675821"/>
          </a:xfr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368315" y="2733866"/>
            <a:ext cx="7772400" cy="131445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419100751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41800" y="2305050"/>
            <a:ext cx="647700" cy="523875"/>
          </a:xfrm>
          <a:prstGeom prst="rect">
            <a:avLst/>
          </a:prstGeom>
        </p:spPr>
      </p:pic>
      <p:pic>
        <p:nvPicPr>
          <p:cNvPr id="8" name="Bild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41800" y="2305050"/>
            <a:ext cx="647700" cy="523875"/>
          </a:xfrm>
          <a:prstGeom prst="rect">
            <a:avLst/>
          </a:prstGeom>
        </p:spPr>
      </p:pic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9" name="Tittel 1">
            <a:extLst>
              <a:ext uri="{FF2B5EF4-FFF2-40B4-BE49-F238E27FC236}">
                <a16:creationId xmlns:a16="http://schemas.microsoft.com/office/drawing/2014/main" id="{2344BB71-0781-BE4B-991A-D131BC6BED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573" y="205979"/>
            <a:ext cx="8381997" cy="646331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0" name="Plassholder for innhold 2">
            <a:extLst>
              <a:ext uri="{FF2B5EF4-FFF2-40B4-BE49-F238E27FC236}">
                <a16:creationId xmlns:a16="http://schemas.microsoft.com/office/drawing/2014/main" id="{8AF6411C-65FD-A24C-9C3D-9E5091552B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6573" y="928914"/>
            <a:ext cx="8381997" cy="3665709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67708826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42663829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95531601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E56B820D-AB7F-5A44-8020-5D09944AA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19" y="205979"/>
            <a:ext cx="8229600" cy="646331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AE7B768E-548A-B44A-978C-328D3FD0988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80219" y="1444342"/>
            <a:ext cx="4040188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37E158BE-6530-394F-B377-3FE8EA1DC6D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468045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9F076E42-9075-F143-9FC0-531C50D5489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468045" y="1444342"/>
            <a:ext cx="4041775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BF3EDB8E-E4B3-2B49-9493-A3FEF0A85B7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0218" y="964521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417080850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2212057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241294" y="4815936"/>
            <a:ext cx="426966" cy="273844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algn="r"/>
            <a:fld id="{91853A39-49B3-554A-AE82-85611CEBD8E3}" type="slidenum">
              <a:rPr lang="nb-NO" smtClean="0">
                <a:latin typeface="Arial"/>
                <a:cs typeface="Arial"/>
              </a:rPr>
              <a:pPr algn="r"/>
              <a:t>‹#›</a:t>
            </a:fld>
            <a:endParaRPr lang="nb-NO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8246049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1900724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6645383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09494981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59058251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90635999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368315" y="2008062"/>
            <a:ext cx="7772400" cy="646331"/>
          </a:xfrm>
          <a:prstGeom prst="rect">
            <a:avLst/>
          </a:prstGeo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368315" y="2733866"/>
            <a:ext cx="7772400" cy="131445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373844618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000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000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5" y="298339"/>
            <a:ext cx="8418747" cy="648512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1385" y="1010266"/>
            <a:ext cx="8418747" cy="3613774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429447413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323439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241294" y="4815936"/>
            <a:ext cx="426966" cy="273844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algn="r"/>
            <a:fld id="{91853A39-49B3-554A-AE82-85611CEBD8E3}" type="slidenum">
              <a:rPr lang="nb-NO" smtClean="0">
                <a:latin typeface="Arial"/>
                <a:cs typeface="Arial"/>
              </a:rPr>
              <a:pPr algn="r"/>
              <a:t>‹#›</a:t>
            </a:fld>
            <a:endParaRPr lang="nb-NO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7052716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28524829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959970DA-EE83-6D4C-A7D9-242707344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19" y="205980"/>
            <a:ext cx="8229600" cy="646331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22250DC5-D43E-DF47-8946-580345545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80220" y="1444343"/>
            <a:ext cx="4040188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4938533B-98B9-FE49-BD38-3FE354B5DB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468046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AAE60141-BB9F-7A45-AD28-419E734080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468046" y="1444343"/>
            <a:ext cx="4041775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DE388575-68AB-9547-8F46-F2D9AF39D5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0219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</p:spTree>
    <p:extLst>
      <p:ext uri="{BB962C8B-B14F-4D97-AF65-F5344CB8AC3E}">
        <p14:creationId xmlns:p14="http://schemas.microsoft.com/office/powerpoint/2010/main" val="33695147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37291424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139284398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6903726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2" y="368439"/>
            <a:ext cx="3008313" cy="707886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04789"/>
            <a:ext cx="5111750" cy="438983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2" y="1076327"/>
            <a:ext cx="3008313" cy="35182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08239594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3625395"/>
            <a:ext cx="5486400" cy="40011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025504"/>
            <a:ext cx="5486400" cy="6036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63027339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30428273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7394139" y="205980"/>
            <a:ext cx="1292662" cy="4388644"/>
          </a:xfrm>
          <a:prstGeom prst="rect">
            <a:avLst/>
          </a:prstGeo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05980"/>
            <a:ext cx="6019800" cy="4388644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80851956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 page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768277"/>
              </p:ext>
            </p:ext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0587913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368315" y="2008061"/>
            <a:ext cx="7772400" cy="675821"/>
          </a:xfrm>
          <a:prstGeom prst="rect">
            <a:avLst/>
          </a:prstGeo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368315" y="2733866"/>
            <a:ext cx="7772400" cy="131445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74429838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98339"/>
            <a:ext cx="7615382" cy="648512"/>
          </a:xfrm>
          <a:prstGeom prst="rect">
            <a:avLst/>
          </a:prstGeom>
        </p:spPr>
        <p:txBody>
          <a:bodyPr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57200" y="1021492"/>
            <a:ext cx="8229600" cy="3794443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41800" y="2305050"/>
            <a:ext cx="647700" cy="523875"/>
          </a:xfrm>
          <a:prstGeom prst="rect">
            <a:avLst/>
          </a:prstGeom>
        </p:spPr>
      </p:pic>
      <p:pic>
        <p:nvPicPr>
          <p:cNvPr id="8" name="Bild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41800" y="2305050"/>
            <a:ext cx="647700" cy="523875"/>
          </a:xfrm>
          <a:prstGeom prst="rect">
            <a:avLst/>
          </a:prstGeom>
        </p:spPr>
      </p:pic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b="0" i="0">
              <a:solidFill>
                <a:schemeClr val="tx1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0886637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305175"/>
            <a:ext cx="7772400" cy="1431581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94727653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959970DA-EE83-6D4C-A7D9-242707344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19" y="205979"/>
            <a:ext cx="8229600" cy="646331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22250DC5-D43E-DF47-8946-580345545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80219" y="1444342"/>
            <a:ext cx="4040188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4938533B-98B9-FE49-BD38-3FE354B5DB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468045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AAE60141-BB9F-7A45-AD28-419E734080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468045" y="1444342"/>
            <a:ext cx="4041775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DE388575-68AB-9547-8F46-F2D9AF39D5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0218" y="964521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</p:spTree>
    <p:extLst>
      <p:ext uri="{BB962C8B-B14F-4D97-AF65-F5344CB8AC3E}">
        <p14:creationId xmlns:p14="http://schemas.microsoft.com/office/powerpoint/2010/main" val="70223664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23984901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F029CD80-4653-1D40-8828-D130A1CE83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19" y="205979"/>
            <a:ext cx="8229600" cy="646331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A2198496-915B-0544-B4C5-2520C5B26EF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80219" y="1444342"/>
            <a:ext cx="4040188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7EDE4B5C-3CB2-3941-8546-1481B2148F3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468045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0E4E6626-5F8B-9E4F-A2AA-C9120194290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468045" y="1444342"/>
            <a:ext cx="4041775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1D073737-7B80-A24C-AB05-449F502783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0218" y="964521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28569395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173962710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1540395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71843684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60857648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1200151"/>
            <a:ext cx="7492314" cy="339447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07375507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6489354" y="205979"/>
            <a:ext cx="1254211" cy="4388644"/>
          </a:xfrm>
          <a:prstGeom prst="rect">
            <a:avLst/>
          </a:prstGeo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5844746" cy="4388644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5140964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1722496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497185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5964862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5322368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ags" Target="../tags/tag4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6" Type="http://schemas.openxmlformats.org/officeDocument/2006/relationships/image" Target="../media/image3.jpeg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tags" Target="../tags/tag5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5.xml"/><Relationship Id="rId16" Type="http://schemas.openxmlformats.org/officeDocument/2006/relationships/image" Target="../media/image3.jpeg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oleObject" Target="../embeddings/oleObject3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theme" Target="../theme/theme4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36.xml"/><Relationship Id="rId16" Type="http://schemas.openxmlformats.org/officeDocument/2006/relationships/oleObject" Target="../embeddings/oleObject4.bin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5" Type="http://schemas.openxmlformats.org/officeDocument/2006/relationships/tags" Target="../tags/tag7.xml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tags" Target="../tags/tag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13" Type="http://schemas.openxmlformats.org/officeDocument/2006/relationships/tags" Target="../tags/tag9.xml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8.xml"/><Relationship Id="rId16" Type="http://schemas.openxmlformats.org/officeDocument/2006/relationships/image" Target="../media/image3.jpeg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5" Type="http://schemas.openxmlformats.org/officeDocument/2006/relationships/slideLayout" Target="../slideLayouts/slideLayout51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56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Relationship Id="rId14" Type="http://schemas.openxmlformats.org/officeDocument/2006/relationships/oleObject" Target="../embeddings/oleObject6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1165A2F-B939-4493-8B4B-472F2B934C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213898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1165A2F-B939-4493-8B4B-472F2B934C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AADCD85-0D95-4AE9-8C9D-6336B6FF112D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36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323849" y="205979"/>
            <a:ext cx="8458815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323849" y="936523"/>
            <a:ext cx="8458815" cy="36581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AB1FCAE9-E6CF-CA49-A956-CEDD0847952D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423180" y="4800918"/>
            <a:ext cx="2520045" cy="204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779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73" r:id="rId12"/>
  </p:sldLayoutIdLst>
  <p:txStyles>
    <p:titleStyle>
      <a:lvl1pPr algn="l" defTabSz="457200" rtl="0" eaLnBrk="1" latinLnBrk="0" hangingPunct="1">
        <a:spcBef>
          <a:spcPct val="0"/>
        </a:spcBef>
        <a:buNone/>
        <a:defRPr sz="36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3A59599-34AF-4416-9B68-E8C695306F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833493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4" progId="TCLayout.ActiveDocument.1">
                  <p:embed/>
                </p:oleObj>
              </mc:Choice>
              <mc:Fallback>
                <p:oleObj name="think-cell Slide" r:id="rId1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3A59599-34AF-4416-9B68-E8C695306F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57200" y="304299"/>
            <a:ext cx="8229600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57200" y="1025501"/>
            <a:ext cx="8229600" cy="38137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5" name="Bilde 4" descr="sirkler.jpg"/>
          <p:cNvPicPr>
            <a:picLocks noChangeAspect="1"/>
          </p:cNvPicPr>
          <p:nvPr userDrawn="1"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451"/>
          <a:stretch/>
        </p:blipFill>
        <p:spPr>
          <a:xfrm>
            <a:off x="7993703" y="379170"/>
            <a:ext cx="1151994" cy="1148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55344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</p:sldLayoutIdLst>
  <p:txStyles>
    <p:titleStyle>
      <a:lvl1pPr algn="l" defTabSz="457200" rtl="0" eaLnBrk="1" latinLnBrk="0" hangingPunct="1">
        <a:spcBef>
          <a:spcPct val="0"/>
        </a:spcBef>
        <a:buNone/>
        <a:defRPr sz="36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4394623-160E-4BDA-8166-722D8E8F92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8278734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4" progId="TCLayout.ActiveDocument.1">
                  <p:embed/>
                </p:oleObj>
              </mc:Choice>
              <mc:Fallback>
                <p:oleObj name="think-cell Slide" r:id="rId1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4394623-160E-4BDA-8166-722D8E8F92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57200" y="304299"/>
            <a:ext cx="8229600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57200" y="1025501"/>
            <a:ext cx="8229600" cy="38137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5" name="Bilde 4" descr="sirkler.jpg"/>
          <p:cNvPicPr>
            <a:picLocks noChangeAspect="1"/>
          </p:cNvPicPr>
          <p:nvPr userDrawn="1"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451"/>
          <a:stretch/>
        </p:blipFill>
        <p:spPr>
          <a:xfrm>
            <a:off x="7993703" y="379170"/>
            <a:ext cx="1151994" cy="1148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52895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</p:sldLayoutIdLst>
  <p:txStyles>
    <p:titleStyle>
      <a:lvl1pPr algn="l" defTabSz="457200" rtl="0" eaLnBrk="1" latinLnBrk="0" hangingPunct="1">
        <a:spcBef>
          <a:spcPct val="0"/>
        </a:spcBef>
        <a:buNone/>
        <a:defRPr sz="36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0F553F2-CB7D-46D6-A6A5-D16CF29D07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587843601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592" imgH="591" progId="TCLayout.ActiveDocument.1">
                  <p:embed/>
                </p:oleObj>
              </mc:Choice>
              <mc:Fallback>
                <p:oleObj name="think-cell Slide" r:id="rId16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0F553F2-CB7D-46D6-A6A5-D16CF29D07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E29948F-3307-473B-885D-E9EEF3840228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36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323849" y="205980"/>
            <a:ext cx="8458815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323849" y="936523"/>
            <a:ext cx="8458815" cy="36581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AB1FCAE9-E6CF-CA49-A956-CEDD0847952D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423181" y="4800919"/>
            <a:ext cx="2520045" cy="204809"/>
          </a:xfrm>
          <a:prstGeom prst="rect">
            <a:avLst/>
          </a:prstGeom>
        </p:spPr>
      </p:pic>
      <p:sp>
        <p:nvSpPr>
          <p:cNvPr id="7" name="Plassholder for lysbildenummer 5">
            <a:extLst>
              <a:ext uri="{FF2B5EF4-FFF2-40B4-BE49-F238E27FC236}">
                <a16:creationId xmlns:a16="http://schemas.microsoft.com/office/drawing/2014/main" id="{FE08F9A8-C6B7-4BAE-BD6C-8CDE0653CD72}"/>
              </a:ext>
            </a:extLst>
          </p:cNvPr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000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000" b="0" i="0">
              <a:solidFill>
                <a:schemeClr val="tx1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275284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</p:sldLayoutIdLst>
  <p:txStyles>
    <p:titleStyle>
      <a:lvl1pPr algn="l" defTabSz="457189" rtl="0" eaLnBrk="1" latinLnBrk="0" hangingPunct="1">
        <a:spcBef>
          <a:spcPct val="0"/>
        </a:spcBef>
        <a:buNone/>
        <a:defRPr sz="36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892" indent="-342892" algn="l" defTabSz="457189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31" indent="-285743" algn="l" defTabSz="457189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1142972" indent="-228594" algn="l" defTabSz="457189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600160" indent="-228594" algn="l" defTabSz="457189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348" indent="-228594" algn="l" defTabSz="457189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8EC9471-A79C-4DDA-A5D4-F49B36D71B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5645153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4" progId="TCLayout.ActiveDocument.1">
                  <p:embed/>
                </p:oleObj>
              </mc:Choice>
              <mc:Fallback>
                <p:oleObj name="think-cell Slide" r:id="rId1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8EC9471-A79C-4DDA-A5D4-F49B36D71B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57200" y="307575"/>
            <a:ext cx="7643091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57200" y="1096834"/>
            <a:ext cx="8229600" cy="36582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5" name="Bilde 4" descr="sirkler.jpg"/>
          <p:cNvPicPr>
            <a:picLocks noChangeAspect="1"/>
          </p:cNvPicPr>
          <p:nvPr userDrawn="1"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451"/>
          <a:stretch/>
        </p:blipFill>
        <p:spPr>
          <a:xfrm>
            <a:off x="7993703" y="379170"/>
            <a:ext cx="1151994" cy="1148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65561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  <p:sldLayoutId id="2147483720" r:id="rId9"/>
    <p:sldLayoutId id="2147483721" r:id="rId10"/>
    <p:sldLayoutId id="2147483722" r:id="rId11"/>
  </p:sldLayoutIdLst>
  <p:txStyles>
    <p:titleStyle>
      <a:lvl1pPr algn="l" defTabSz="457200" rtl="0" eaLnBrk="1" latinLnBrk="0" hangingPunct="1">
        <a:spcBef>
          <a:spcPct val="0"/>
        </a:spcBef>
        <a:buNone/>
        <a:defRPr sz="36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2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4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universityofbergen.sharepoint.com/:b:/s/KvalitetsrammeverkokonomioglonnBOTT/EQDncA5VK4pPvC8xhKQ03qkB9CijOA6Jz43G5JrasdM9PA?e=sU4jmH" TargetMode="Externa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0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hyperlink" Target="https://universityofbergen.sharepoint.com/:b:/s/KvalitetsrammeverkokonomioglonnBOTT/EXR8sje_sb1MpgAP5qcXmpgBKVZ1vKJEVaF26hJrfSCdDw?e=Vyg0C3" TargetMode="Externa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50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50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50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.png"/><Relationship Id="rId12" Type="http://schemas.openxmlformats.org/officeDocument/2006/relationships/image" Target="../media/image12.svg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1.emf"/><Relationship Id="rId11" Type="http://schemas.openxmlformats.org/officeDocument/2006/relationships/image" Target="../media/image11.png"/><Relationship Id="rId5" Type="http://schemas.openxmlformats.org/officeDocument/2006/relationships/oleObject" Target="../embeddings/oleObject8.bin"/><Relationship Id="rId10" Type="http://schemas.openxmlformats.org/officeDocument/2006/relationships/image" Target="../media/image10.sv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9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8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8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48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7" Type="http://schemas.openxmlformats.org/officeDocument/2006/relationships/image" Target="../media/image33.svg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25.xml"/><Relationship Id="rId6" Type="http://schemas.openxmlformats.org/officeDocument/2006/relationships/image" Target="../media/image3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hyperlink" Target="https://dfo.infocaption.com/376.guide" TargetMode="External"/><Relationship Id="rId3" Type="http://schemas.openxmlformats.org/officeDocument/2006/relationships/notesSlide" Target="../notesSlides/notesSlide21.xml"/><Relationship Id="rId7" Type="http://schemas.openxmlformats.org/officeDocument/2006/relationships/image" Target="../media/image35.svg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26.xml"/><Relationship Id="rId6" Type="http://schemas.openxmlformats.org/officeDocument/2006/relationships/image" Target="../media/image3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3.xml"/><Relationship Id="rId3" Type="http://schemas.openxmlformats.org/officeDocument/2006/relationships/notesSlide" Target="../notesSlides/notesSlide23.xml"/><Relationship Id="rId7" Type="http://schemas.openxmlformats.org/officeDocument/2006/relationships/diagramLayout" Target="../diagrams/layout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8.xml"/><Relationship Id="rId6" Type="http://schemas.openxmlformats.org/officeDocument/2006/relationships/diagramData" Target="../diagrams/data3.xml"/><Relationship Id="rId5" Type="http://schemas.openxmlformats.org/officeDocument/2006/relationships/image" Target="../media/image1.emf"/><Relationship Id="rId10" Type="http://schemas.microsoft.com/office/2007/relationships/diagramDrawing" Target="../diagrams/drawing3.xml"/><Relationship Id="rId4" Type="http://schemas.openxmlformats.org/officeDocument/2006/relationships/oleObject" Target="../embeddings/oleObject24.bin"/><Relationship Id="rId9" Type="http://schemas.openxmlformats.org/officeDocument/2006/relationships/diagramColors" Target="../diagrams/colors3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9.xml"/><Relationship Id="rId6" Type="http://schemas.openxmlformats.org/officeDocument/2006/relationships/image" Target="../media/image3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4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hyperlink" Target="mailto:Oppaering-bott-ol@ntnu.no" TargetMode="External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hyperlink" Target="https://i.ntnu.no/wiki/-/wiki/Norsk/Bott+%C3%B8konomi+og+l%C3%B8nn+-+Oppl%C3%A6ring" TargetMode="External"/><Relationship Id="rId3" Type="http://schemas.openxmlformats.org/officeDocument/2006/relationships/notesSlide" Target="../notesSlides/notesSlide27.xml"/><Relationship Id="rId7" Type="http://schemas.openxmlformats.org/officeDocument/2006/relationships/hyperlink" Target="https://i.ntnu.no/wiki/-/wiki/Norsk/BOTT+%C3%98konomi+og+l%C3%B8nn+innf%C3%B8ringsprosjekt" TargetMode="External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31.xml"/><Relationship Id="rId6" Type="http://schemas.openxmlformats.org/officeDocument/2006/relationships/hyperlink" Target="https://www.bott-samarbeidet.no/okonomi/opplering/index.html" TargetMode="External"/><Relationship Id="rId11" Type="http://schemas.openxmlformats.org/officeDocument/2006/relationships/image" Target="../media/image38.svg"/><Relationship Id="rId5" Type="http://schemas.openxmlformats.org/officeDocument/2006/relationships/image" Target="../media/image1.emf"/><Relationship Id="rId10" Type="http://schemas.openxmlformats.org/officeDocument/2006/relationships/image" Target="../media/image37.png"/><Relationship Id="rId4" Type="http://schemas.openxmlformats.org/officeDocument/2006/relationships/oleObject" Target="../embeddings/oleObject27.bin"/><Relationship Id="rId9" Type="http://schemas.openxmlformats.org/officeDocument/2006/relationships/hyperlink" Target="mailto:opplaering-bott-ol@ntnu.no" TargetMode="Externa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jpeg"/><Relationship Id="rId13" Type="http://schemas.openxmlformats.org/officeDocument/2006/relationships/image" Target="../media/image45.jpeg"/><Relationship Id="rId18" Type="http://schemas.openxmlformats.org/officeDocument/2006/relationships/image" Target="../media/image50.jpeg"/><Relationship Id="rId3" Type="http://schemas.openxmlformats.org/officeDocument/2006/relationships/slideLayout" Target="../slideLayouts/slideLayout14.xml"/><Relationship Id="rId21" Type="http://schemas.openxmlformats.org/officeDocument/2006/relationships/image" Target="../media/image53.png"/><Relationship Id="rId7" Type="http://schemas.openxmlformats.org/officeDocument/2006/relationships/image" Target="../media/image39.jpeg"/><Relationship Id="rId12" Type="http://schemas.openxmlformats.org/officeDocument/2006/relationships/image" Target="../media/image44.jpeg"/><Relationship Id="rId17" Type="http://schemas.openxmlformats.org/officeDocument/2006/relationships/image" Target="../media/image49.jpeg"/><Relationship Id="rId2" Type="http://schemas.openxmlformats.org/officeDocument/2006/relationships/tags" Target="../tags/tag33.xml"/><Relationship Id="rId16" Type="http://schemas.openxmlformats.org/officeDocument/2006/relationships/image" Target="../media/image48.jpeg"/><Relationship Id="rId20" Type="http://schemas.openxmlformats.org/officeDocument/2006/relationships/image" Target="../media/image52.jpeg"/><Relationship Id="rId1" Type="http://schemas.openxmlformats.org/officeDocument/2006/relationships/tags" Target="../tags/tag32.xml"/><Relationship Id="rId6" Type="http://schemas.openxmlformats.org/officeDocument/2006/relationships/image" Target="../media/image1.emf"/><Relationship Id="rId11" Type="http://schemas.openxmlformats.org/officeDocument/2006/relationships/image" Target="../media/image43.jpeg"/><Relationship Id="rId5" Type="http://schemas.openxmlformats.org/officeDocument/2006/relationships/oleObject" Target="../embeddings/oleObject28.bin"/><Relationship Id="rId15" Type="http://schemas.openxmlformats.org/officeDocument/2006/relationships/image" Target="../media/image47.jpeg"/><Relationship Id="rId10" Type="http://schemas.openxmlformats.org/officeDocument/2006/relationships/image" Target="../media/image42.jpeg"/><Relationship Id="rId19" Type="http://schemas.openxmlformats.org/officeDocument/2006/relationships/image" Target="../media/image51.png"/><Relationship Id="rId4" Type="http://schemas.openxmlformats.org/officeDocument/2006/relationships/notesSlide" Target="../notesSlides/notesSlide28.xml"/><Relationship Id="rId9" Type="http://schemas.openxmlformats.org/officeDocument/2006/relationships/image" Target="../media/image41.jpeg"/><Relationship Id="rId14" Type="http://schemas.openxmlformats.org/officeDocument/2006/relationships/image" Target="../media/image46.jpe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.xml"/><Relationship Id="rId7" Type="http://schemas.openxmlformats.org/officeDocument/2006/relationships/image" Target="../media/image55.svg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34.xml"/><Relationship Id="rId6" Type="http://schemas.openxmlformats.org/officeDocument/2006/relationships/image" Target="../media/image5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22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6.png"/><Relationship Id="rId12" Type="http://schemas.openxmlformats.org/officeDocument/2006/relationships/image" Target="../media/image21.png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15.xml"/><Relationship Id="rId6" Type="http://schemas.openxmlformats.org/officeDocument/2006/relationships/image" Target="../media/image15.png"/><Relationship Id="rId11" Type="http://schemas.openxmlformats.org/officeDocument/2006/relationships/image" Target="../media/image20.png"/><Relationship Id="rId5" Type="http://schemas.openxmlformats.org/officeDocument/2006/relationships/image" Target="../media/image1.emf"/><Relationship Id="rId10" Type="http://schemas.openxmlformats.org/officeDocument/2006/relationships/image" Target="../media/image19.png"/><Relationship Id="rId4" Type="http://schemas.openxmlformats.org/officeDocument/2006/relationships/oleObject" Target="../embeddings/oleObject11.bin"/><Relationship Id="rId9" Type="http://schemas.openxmlformats.org/officeDocument/2006/relationships/image" Target="../media/image1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16.xml"/><Relationship Id="rId6" Type="http://schemas.openxmlformats.org/officeDocument/2006/relationships/image" Target="../media/image2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17.xml"/><Relationship Id="rId6" Type="http://schemas.openxmlformats.org/officeDocument/2006/relationships/image" Target="../media/image2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1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F7AA266-F56E-437F-A01F-296C153524B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90600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F7AA266-F56E-437F-A01F-296C153524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ktangel 10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9" name="Tittel 1"/>
          <p:cNvSpPr>
            <a:spLocks noGrp="1"/>
          </p:cNvSpPr>
          <p:nvPr>
            <p:ph type="ctrTitle"/>
          </p:nvPr>
        </p:nvSpPr>
        <p:spPr>
          <a:xfrm>
            <a:off x="514957" y="1878467"/>
            <a:ext cx="8114088" cy="1138773"/>
          </a:xfrm>
        </p:spPr>
        <p:txBody>
          <a:bodyPr vert="horz"/>
          <a:lstStyle/>
          <a:p>
            <a:pPr algn="ctr"/>
            <a:r>
              <a:rPr lang="nb-NO" sz="3200">
                <a:solidFill>
                  <a:schemeClr val="bg1"/>
                </a:solidFill>
              </a:rPr>
              <a:t>NTNU Kurs 2 - Behov til betaling</a:t>
            </a:r>
            <a:br>
              <a:rPr lang="nb-NO"/>
            </a:br>
            <a:r>
              <a:rPr lang="nb-NO" b="0">
                <a:solidFill>
                  <a:schemeClr val="bg1"/>
                </a:solidFill>
              </a:rPr>
              <a:t>Fagrekvirent</a:t>
            </a:r>
          </a:p>
        </p:txBody>
      </p:sp>
      <p:sp>
        <p:nvSpPr>
          <p:cNvPr id="10" name="Undertittel 2"/>
          <p:cNvSpPr>
            <a:spLocks noGrp="1"/>
          </p:cNvSpPr>
          <p:nvPr>
            <p:ph type="subTitle" idx="1"/>
          </p:nvPr>
        </p:nvSpPr>
        <p:spPr>
          <a:xfrm>
            <a:off x="514956" y="3794190"/>
            <a:ext cx="8114089" cy="598097"/>
          </a:xfrm>
        </p:spPr>
        <p:txBody>
          <a:bodyPr>
            <a:normAutofit/>
          </a:bodyPr>
          <a:lstStyle/>
          <a:p>
            <a:pPr algn="ctr"/>
            <a:r>
              <a:rPr lang="nb-NO">
                <a:solidFill>
                  <a:schemeClr val="bg1">
                    <a:lumMod val="85000"/>
                  </a:schemeClr>
                </a:solidFill>
              </a:rPr>
              <a:t>BOTT ØL Innføring</a:t>
            </a:r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589D61C2-2E0E-8541-A434-8E4817E38EF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68815" y="1160664"/>
            <a:ext cx="5406359" cy="433297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68694C40-2A8D-4DC4-92C6-3D3387A17632}"/>
              </a:ext>
            </a:extLst>
          </p:cNvPr>
          <p:cNvSpPr/>
          <p:nvPr/>
        </p:nvSpPr>
        <p:spPr>
          <a:xfrm>
            <a:off x="4102255" y="4544295"/>
            <a:ext cx="939489" cy="276999"/>
          </a:xfrm>
          <a:prstGeom prst="rect">
            <a:avLst/>
          </a:prstGeom>
        </p:spPr>
        <p:txBody>
          <a:bodyPr wrap="none" lIns="91440" tIns="45720" rIns="91440" bIns="45720" anchor="t">
            <a:spAutoFit/>
          </a:bodyPr>
          <a:lstStyle/>
          <a:p>
            <a:pPr algn="ctr"/>
            <a:r>
              <a:rPr lang="nb-NO" sz="1200">
                <a:solidFill>
                  <a:schemeClr val="bg1">
                    <a:lumMod val="85000"/>
                  </a:schemeClr>
                </a:solidFill>
              </a:rPr>
              <a:t>21.11.2022</a:t>
            </a:r>
            <a:endParaRPr lang="nb-NO" sz="1200">
              <a:solidFill>
                <a:schemeClr val="bg1">
                  <a:lumMod val="85000"/>
                </a:schemeClr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4310205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6A313E9-F04F-49A2-B09B-8380EAB67A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60736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6A313E9-F04F-49A2-B09B-8380EAB67A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6DACF3A-9624-4BB9-91F7-390F10A5CE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5" y="298339"/>
            <a:ext cx="8418747" cy="525401"/>
          </a:xfrm>
        </p:spPr>
        <p:txBody>
          <a:bodyPr vert="horz"/>
          <a:lstStyle/>
          <a:p>
            <a:r>
              <a:rPr lang="nb-NO" sz="2800"/>
              <a:t>Hovedforskjeller: Utføre vare-/tjenestemottak </a:t>
            </a:r>
            <a:endParaRPr lang="en-US"/>
          </a:p>
        </p:txBody>
      </p:sp>
      <p:sp>
        <p:nvSpPr>
          <p:cNvPr id="13" name="Rektangel 7">
            <a:extLst>
              <a:ext uri="{FF2B5EF4-FFF2-40B4-BE49-F238E27FC236}">
                <a16:creationId xmlns:a16="http://schemas.microsoft.com/office/drawing/2014/main" id="{3A815C49-A948-4978-9A49-C6BC506A3EC1}"/>
              </a:ext>
            </a:extLst>
          </p:cNvPr>
          <p:cNvSpPr/>
          <p:nvPr/>
        </p:nvSpPr>
        <p:spPr>
          <a:xfrm>
            <a:off x="1054762" y="1117355"/>
            <a:ext cx="7520901" cy="91505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nb-NO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1100">
                <a:solidFill>
                  <a:schemeClr val="tx1"/>
                </a:solidFill>
              </a:rPr>
              <a:t>Ny matchelogikk betyr at det er anbefalt å gjøre </a:t>
            </a:r>
            <a:r>
              <a:rPr lang="nb-NO" sz="1100" b="1">
                <a:solidFill>
                  <a:srgbClr val="014694"/>
                </a:solidFill>
              </a:rPr>
              <a:t>varemottak etter at faktura er mottatt </a:t>
            </a:r>
            <a:r>
              <a:rPr lang="nb-NO" sz="1100">
                <a:solidFill>
                  <a:schemeClr val="tx1"/>
                </a:solidFill>
              </a:rPr>
              <a:t>enten når faktura ligger i ventetrinn eller som oppgave manglende varemottak.</a:t>
            </a:r>
          </a:p>
          <a:p>
            <a:r>
              <a:rPr lang="nb-NO" sz="1100">
                <a:solidFill>
                  <a:schemeClr val="tx1"/>
                </a:solidFill>
                <a:cs typeface="Arial"/>
              </a:rPr>
              <a:t>- e-faktura gjør at faktura i de fleste tilfeller er innlest før varen leveres</a:t>
            </a:r>
          </a:p>
          <a:p>
            <a:r>
              <a:rPr lang="nb-NO" sz="1100">
                <a:solidFill>
                  <a:schemeClr val="tx1"/>
                </a:solidFill>
                <a:cs typeface="Arial"/>
              </a:rPr>
              <a:t>- det er fortsatt mulig å ta varemottak selv om faktura ikke er lest inn enda</a:t>
            </a:r>
          </a:p>
        </p:txBody>
      </p:sp>
      <p:sp>
        <p:nvSpPr>
          <p:cNvPr id="14" name="Rektangel 24">
            <a:extLst>
              <a:ext uri="{FF2B5EF4-FFF2-40B4-BE49-F238E27FC236}">
                <a16:creationId xmlns:a16="http://schemas.microsoft.com/office/drawing/2014/main" id="{E2E9A47A-430A-473E-8C91-56E7D86E3646}"/>
              </a:ext>
            </a:extLst>
          </p:cNvPr>
          <p:cNvSpPr/>
          <p:nvPr/>
        </p:nvSpPr>
        <p:spPr>
          <a:xfrm>
            <a:off x="410295" y="1119258"/>
            <a:ext cx="545584" cy="91654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b-NO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Rektangel 7">
            <a:extLst>
              <a:ext uri="{FF2B5EF4-FFF2-40B4-BE49-F238E27FC236}">
                <a16:creationId xmlns:a16="http://schemas.microsoft.com/office/drawing/2014/main" id="{D0E16615-BF0B-464E-BF5F-31863CC7FBFE}"/>
              </a:ext>
            </a:extLst>
          </p:cNvPr>
          <p:cNvSpPr/>
          <p:nvPr/>
        </p:nvSpPr>
        <p:spPr>
          <a:xfrm>
            <a:off x="1054922" y="2147431"/>
            <a:ext cx="7520900" cy="117118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nb-NO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1100" b="1">
                <a:solidFill>
                  <a:schemeClr val="tx2"/>
                </a:solidFill>
                <a:ea typeface="+mn-lt"/>
                <a:cs typeface="+mn-lt"/>
              </a:rPr>
              <a:t>Endret matchelogikk fra sum til linjematch </a:t>
            </a:r>
            <a:r>
              <a:rPr lang="nb-NO" sz="1100">
                <a:solidFill>
                  <a:schemeClr val="tx1"/>
                </a:solidFill>
                <a:ea typeface="+mn-lt"/>
                <a:cs typeface="+mn-lt"/>
              </a:rPr>
              <a:t>– Når man gjør varemottak etter at faktura er mottatt må man avstemme varemottaket mot fakturabildet. Dvs. man må legge til evt. linjer som manglet i ordren, f.eks. frakt, samt endre sum/antall/</a:t>
            </a:r>
            <a:r>
              <a:rPr lang="nb-NO" sz="1100" err="1">
                <a:solidFill>
                  <a:schemeClr val="tx1"/>
                </a:solidFill>
                <a:ea typeface="+mn-lt"/>
                <a:cs typeface="+mn-lt"/>
              </a:rPr>
              <a:t>mva</a:t>
            </a:r>
            <a:r>
              <a:rPr lang="nb-NO" sz="1100">
                <a:solidFill>
                  <a:schemeClr val="tx1"/>
                </a:solidFill>
                <a:ea typeface="+mn-lt"/>
                <a:cs typeface="+mn-lt"/>
              </a:rPr>
              <a:t>-koder hvis ordren og fakturaen ikke stemmer overens. </a:t>
            </a:r>
            <a:endParaRPr lang="en-US">
              <a:solidFill>
                <a:schemeClr val="tx1"/>
              </a:solidFill>
              <a:cs typeface="Arial" panose="020B0604020202020204"/>
            </a:endParaRPr>
          </a:p>
          <a:p>
            <a:r>
              <a:rPr lang="nb-NO" sz="1100">
                <a:solidFill>
                  <a:schemeClr val="tx1"/>
                </a:solidFill>
                <a:ea typeface="+mn-lt"/>
                <a:cs typeface="+mn-lt"/>
              </a:rPr>
              <a:t>OBS! Man skal allikevel </a:t>
            </a:r>
            <a:r>
              <a:rPr lang="nb-NO" sz="1100" b="1">
                <a:solidFill>
                  <a:schemeClr val="tx1"/>
                </a:solidFill>
                <a:ea typeface="+mn-lt"/>
                <a:cs typeface="+mn-lt"/>
              </a:rPr>
              <a:t>ikke </a:t>
            </a:r>
            <a:r>
              <a:rPr lang="nb-NO" sz="1100">
                <a:solidFill>
                  <a:schemeClr val="tx1"/>
                </a:solidFill>
                <a:ea typeface="+mn-lt"/>
                <a:cs typeface="+mn-lt"/>
              </a:rPr>
              <a:t>ta varemottak på noe som ikke er levert, eller hvis noe er feillevert, uansett hva som står på fakturen.   </a:t>
            </a:r>
            <a:endParaRPr lang="nb-NO">
              <a:solidFill>
                <a:schemeClr val="tx1"/>
              </a:solidFill>
            </a:endParaRPr>
          </a:p>
        </p:txBody>
      </p:sp>
      <p:sp>
        <p:nvSpPr>
          <p:cNvPr id="22" name="Rektangel 24">
            <a:extLst>
              <a:ext uri="{FF2B5EF4-FFF2-40B4-BE49-F238E27FC236}">
                <a16:creationId xmlns:a16="http://schemas.microsoft.com/office/drawing/2014/main" id="{A31905A7-4353-4850-A871-198B73584ECC}"/>
              </a:ext>
            </a:extLst>
          </p:cNvPr>
          <p:cNvSpPr/>
          <p:nvPr/>
        </p:nvSpPr>
        <p:spPr>
          <a:xfrm>
            <a:off x="410295" y="2145054"/>
            <a:ext cx="545584" cy="117355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b-NO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Rektangel 7">
            <a:extLst>
              <a:ext uri="{FF2B5EF4-FFF2-40B4-BE49-F238E27FC236}">
                <a16:creationId xmlns:a16="http://schemas.microsoft.com/office/drawing/2014/main" id="{32415137-CE73-42D7-8992-21FDCCC29E97}"/>
              </a:ext>
            </a:extLst>
          </p:cNvPr>
          <p:cNvSpPr/>
          <p:nvPr/>
        </p:nvSpPr>
        <p:spPr>
          <a:xfrm>
            <a:off x="1054762" y="3435303"/>
            <a:ext cx="7520901" cy="91330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nb-NO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b="1" err="1">
                <a:solidFill>
                  <a:srgbClr val="014694"/>
                </a:solidFill>
                <a:cs typeface="Arial"/>
              </a:rPr>
              <a:t>Fagrekvirent</a:t>
            </a:r>
            <a:r>
              <a:rPr lang="en-US" sz="1100" b="1">
                <a:solidFill>
                  <a:srgbClr val="014694"/>
                </a:solidFill>
                <a:cs typeface="Arial"/>
              </a:rPr>
              <a:t> </a:t>
            </a:r>
            <a:r>
              <a:rPr lang="en-US" sz="1100" b="1" i="1" err="1">
                <a:solidFill>
                  <a:srgbClr val="014694"/>
                </a:solidFill>
                <a:cs typeface="Arial"/>
              </a:rPr>
              <a:t>behandler</a:t>
            </a:r>
            <a:r>
              <a:rPr lang="en-US" sz="1100" b="1" i="1">
                <a:solidFill>
                  <a:srgbClr val="014694"/>
                </a:solidFill>
                <a:cs typeface="Arial"/>
              </a:rPr>
              <a:t> </a:t>
            </a:r>
            <a:r>
              <a:rPr lang="en-US" sz="1100" b="1" err="1">
                <a:solidFill>
                  <a:srgbClr val="014694"/>
                </a:solidFill>
                <a:cs typeface="Arial"/>
              </a:rPr>
              <a:t>ikke</a:t>
            </a:r>
            <a:r>
              <a:rPr lang="en-US" sz="1100" b="1">
                <a:solidFill>
                  <a:srgbClr val="014694"/>
                </a:solidFill>
                <a:cs typeface="Arial"/>
              </a:rPr>
              <a:t> faktura</a:t>
            </a:r>
            <a:r>
              <a:rPr lang="en-US" sz="1100">
                <a:solidFill>
                  <a:schemeClr val="tx1"/>
                </a:solidFill>
                <a:cs typeface="Arial"/>
              </a:rPr>
              <a:t>, men ser bare et </a:t>
            </a:r>
            <a:r>
              <a:rPr lang="en-US" sz="1100" err="1">
                <a:solidFill>
                  <a:schemeClr val="tx1"/>
                </a:solidFill>
                <a:cs typeface="Arial"/>
              </a:rPr>
              <a:t>bilde</a:t>
            </a:r>
            <a:r>
              <a:rPr lang="en-US" sz="1100">
                <a:solidFill>
                  <a:schemeClr val="tx1"/>
                </a:solidFill>
                <a:cs typeface="Arial"/>
              </a:rPr>
              <a:t> av </a:t>
            </a:r>
            <a:r>
              <a:rPr lang="en-US" sz="1100" err="1">
                <a:solidFill>
                  <a:schemeClr val="tx1"/>
                </a:solidFill>
                <a:cs typeface="Arial"/>
              </a:rPr>
              <a:t>fakturaen</a:t>
            </a:r>
            <a:r>
              <a:rPr lang="en-US" sz="1100">
                <a:solidFill>
                  <a:schemeClr val="tx1"/>
                </a:solidFill>
                <a:cs typeface="Arial"/>
              </a:rPr>
              <a:t>.</a:t>
            </a:r>
            <a:endParaRPr lang="en-US" sz="1100">
              <a:solidFill>
                <a:schemeClr val="tx1"/>
              </a:solidFill>
              <a:ea typeface="+mn-lt"/>
              <a:cs typeface="+mn-lt"/>
            </a:endParaRPr>
          </a:p>
          <a:p>
            <a:r>
              <a:rPr lang="en-US" sz="1100" err="1">
                <a:solidFill>
                  <a:schemeClr val="tx1"/>
                </a:solidFill>
                <a:cs typeface="Arial"/>
              </a:rPr>
              <a:t>Hvis</a:t>
            </a:r>
            <a:r>
              <a:rPr lang="en-US" sz="1100">
                <a:solidFill>
                  <a:schemeClr val="tx1"/>
                </a:solidFill>
                <a:cs typeface="Arial"/>
              </a:rPr>
              <a:t> </a:t>
            </a:r>
            <a:r>
              <a:rPr lang="en-US" sz="1100" err="1">
                <a:solidFill>
                  <a:schemeClr val="tx1"/>
                </a:solidFill>
                <a:cs typeface="Arial"/>
              </a:rPr>
              <a:t>endringer</a:t>
            </a:r>
            <a:r>
              <a:rPr lang="en-US" sz="1100">
                <a:solidFill>
                  <a:schemeClr val="tx1"/>
                </a:solidFill>
                <a:cs typeface="Arial"/>
              </a:rPr>
              <a:t> </a:t>
            </a:r>
            <a:r>
              <a:rPr lang="en-US" sz="1100" err="1">
                <a:solidFill>
                  <a:schemeClr val="tx1"/>
                </a:solidFill>
                <a:cs typeface="Arial"/>
              </a:rPr>
              <a:t>gjøres</a:t>
            </a:r>
            <a:r>
              <a:rPr lang="en-US" sz="1100">
                <a:solidFill>
                  <a:schemeClr val="tx1"/>
                </a:solidFill>
                <a:cs typeface="Arial"/>
              </a:rPr>
              <a:t> </a:t>
            </a:r>
            <a:r>
              <a:rPr lang="en-US" sz="1100" err="1">
                <a:solidFill>
                  <a:schemeClr val="tx1"/>
                </a:solidFill>
                <a:cs typeface="Arial"/>
              </a:rPr>
              <a:t>i</a:t>
            </a:r>
            <a:r>
              <a:rPr lang="en-US" sz="1100">
                <a:solidFill>
                  <a:schemeClr val="tx1"/>
                </a:solidFill>
                <a:cs typeface="Arial"/>
              </a:rPr>
              <a:t> </a:t>
            </a:r>
            <a:r>
              <a:rPr lang="en-US" sz="1100" err="1">
                <a:solidFill>
                  <a:schemeClr val="tx1"/>
                </a:solidFill>
                <a:cs typeface="Arial"/>
              </a:rPr>
              <a:t>varemottaket</a:t>
            </a:r>
            <a:r>
              <a:rPr lang="en-US" sz="1100">
                <a:solidFill>
                  <a:schemeClr val="tx1"/>
                </a:solidFill>
                <a:cs typeface="Arial"/>
              </a:rPr>
              <a:t> </a:t>
            </a:r>
            <a:r>
              <a:rPr lang="en-US" sz="1100" err="1">
                <a:solidFill>
                  <a:schemeClr val="tx1"/>
                </a:solidFill>
                <a:cs typeface="Arial"/>
              </a:rPr>
              <a:t>som</a:t>
            </a:r>
            <a:r>
              <a:rPr lang="en-US" sz="1100">
                <a:solidFill>
                  <a:schemeClr val="tx1"/>
                </a:solidFill>
                <a:cs typeface="Arial"/>
              </a:rPr>
              <a:t> </a:t>
            </a:r>
            <a:r>
              <a:rPr lang="en-US" sz="1100" err="1">
                <a:solidFill>
                  <a:schemeClr val="tx1"/>
                </a:solidFill>
                <a:cs typeface="Arial"/>
              </a:rPr>
              <a:t>krever</a:t>
            </a:r>
            <a:r>
              <a:rPr lang="en-US" sz="1100">
                <a:solidFill>
                  <a:schemeClr val="tx1"/>
                </a:solidFill>
                <a:cs typeface="Arial"/>
              </a:rPr>
              <a:t> </a:t>
            </a:r>
            <a:r>
              <a:rPr lang="en-US" sz="1100" err="1">
                <a:solidFill>
                  <a:schemeClr val="tx1"/>
                </a:solidFill>
                <a:cs typeface="Arial"/>
              </a:rPr>
              <a:t>ny</a:t>
            </a:r>
            <a:r>
              <a:rPr lang="en-US" sz="1100">
                <a:solidFill>
                  <a:schemeClr val="tx1"/>
                </a:solidFill>
                <a:cs typeface="Arial"/>
              </a:rPr>
              <a:t> </a:t>
            </a:r>
            <a:r>
              <a:rPr lang="en-US" sz="1100" err="1">
                <a:solidFill>
                  <a:schemeClr val="tx1"/>
                </a:solidFill>
                <a:cs typeface="Arial"/>
              </a:rPr>
              <a:t>attestasjon</a:t>
            </a:r>
            <a:r>
              <a:rPr lang="en-US" sz="1100">
                <a:solidFill>
                  <a:schemeClr val="tx1"/>
                </a:solidFill>
                <a:cs typeface="Arial"/>
              </a:rPr>
              <a:t>/</a:t>
            </a:r>
            <a:r>
              <a:rPr lang="en-US" sz="1100" err="1">
                <a:solidFill>
                  <a:schemeClr val="tx1"/>
                </a:solidFill>
                <a:cs typeface="Arial"/>
              </a:rPr>
              <a:t>godkjenning</a:t>
            </a:r>
            <a:r>
              <a:rPr lang="en-US" sz="1100">
                <a:solidFill>
                  <a:schemeClr val="tx1"/>
                </a:solidFill>
                <a:cs typeface="Arial"/>
              </a:rPr>
              <a:t> </a:t>
            </a:r>
            <a:r>
              <a:rPr lang="en-US" sz="1100" err="1">
                <a:solidFill>
                  <a:schemeClr val="tx1"/>
                </a:solidFill>
                <a:cs typeface="Arial"/>
              </a:rPr>
              <a:t>så</a:t>
            </a:r>
            <a:r>
              <a:rPr lang="en-US" sz="1100">
                <a:solidFill>
                  <a:schemeClr val="tx1"/>
                </a:solidFill>
                <a:cs typeface="Arial"/>
              </a:rPr>
              <a:t> </a:t>
            </a:r>
            <a:r>
              <a:rPr lang="en-US" sz="1100" err="1">
                <a:solidFill>
                  <a:schemeClr val="tx1"/>
                </a:solidFill>
                <a:cs typeface="Arial"/>
              </a:rPr>
              <a:t>går</a:t>
            </a:r>
            <a:r>
              <a:rPr lang="en-US" sz="1100">
                <a:solidFill>
                  <a:schemeClr val="tx1"/>
                </a:solidFill>
                <a:cs typeface="Arial"/>
              </a:rPr>
              <a:t> </a:t>
            </a:r>
            <a:r>
              <a:rPr lang="en-US" sz="1100" err="1">
                <a:solidFill>
                  <a:schemeClr val="tx1"/>
                </a:solidFill>
                <a:cs typeface="Arial"/>
              </a:rPr>
              <a:t>fakturaen</a:t>
            </a:r>
            <a:r>
              <a:rPr lang="en-US" sz="1100">
                <a:solidFill>
                  <a:schemeClr val="tx1"/>
                </a:solidFill>
                <a:cs typeface="Arial"/>
              </a:rPr>
              <a:t> </a:t>
            </a:r>
            <a:r>
              <a:rPr lang="en-US" sz="1100" err="1">
                <a:solidFill>
                  <a:schemeClr val="tx1"/>
                </a:solidFill>
                <a:cs typeface="Arial"/>
              </a:rPr>
              <a:t>på</a:t>
            </a:r>
            <a:r>
              <a:rPr lang="en-US" sz="1100">
                <a:solidFill>
                  <a:schemeClr val="tx1"/>
                </a:solidFill>
                <a:cs typeface="Arial"/>
              </a:rPr>
              <a:t> </a:t>
            </a:r>
            <a:r>
              <a:rPr lang="nb-NO" sz="1100" err="1">
                <a:solidFill>
                  <a:schemeClr val="tx1"/>
                </a:solidFill>
                <a:cs typeface="Arial"/>
              </a:rPr>
              <a:t>arb.flyt</a:t>
            </a:r>
            <a:r>
              <a:rPr lang="nb-NO" sz="1100">
                <a:solidFill>
                  <a:schemeClr val="tx1"/>
                </a:solidFill>
                <a:cs typeface="Arial"/>
              </a:rPr>
              <a:t> til innkjøper</a:t>
            </a:r>
            <a:endParaRPr lang="nb-NO">
              <a:solidFill>
                <a:schemeClr val="tx1"/>
              </a:solidFill>
            </a:endParaRPr>
          </a:p>
        </p:txBody>
      </p:sp>
      <p:sp>
        <p:nvSpPr>
          <p:cNvPr id="30" name="Rektangel 24">
            <a:extLst>
              <a:ext uri="{FF2B5EF4-FFF2-40B4-BE49-F238E27FC236}">
                <a16:creationId xmlns:a16="http://schemas.microsoft.com/office/drawing/2014/main" id="{5785522D-EE48-4A66-B8D8-2CFF2D9062F0}"/>
              </a:ext>
            </a:extLst>
          </p:cNvPr>
          <p:cNvSpPr/>
          <p:nvPr/>
        </p:nvSpPr>
        <p:spPr>
          <a:xfrm>
            <a:off x="410295" y="3434091"/>
            <a:ext cx="545584" cy="90409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b-NO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27" name="Group 862">
            <a:extLst>
              <a:ext uri="{FF2B5EF4-FFF2-40B4-BE49-F238E27FC236}">
                <a16:creationId xmlns:a16="http://schemas.microsoft.com/office/drawing/2014/main" id="{2BB0456A-07F8-46F9-9B95-360AE5C9085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88623" y="3686080"/>
            <a:ext cx="394844" cy="396000"/>
            <a:chOff x="6607" y="3441"/>
            <a:chExt cx="340" cy="341"/>
          </a:xfrm>
          <a:solidFill>
            <a:srgbClr val="014694"/>
          </a:solidFill>
        </p:grpSpPr>
        <p:sp>
          <p:nvSpPr>
            <p:cNvPr id="28" name="Freeform 863">
              <a:extLst>
                <a:ext uri="{FF2B5EF4-FFF2-40B4-BE49-F238E27FC236}">
                  <a16:creationId xmlns:a16="http://schemas.microsoft.com/office/drawing/2014/main" id="{5FAEC65D-2AED-4B2F-A506-ECFC0D1A8E7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07" y="3441"/>
              <a:ext cx="340" cy="34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xmlns:mc="http://schemas.openxmlformats.org/markup-compatibility/2006" xmlns:p14="http://schemas.microsoft.com/office/powerpoint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96"/>
            </a:p>
          </p:txBody>
        </p:sp>
        <p:sp>
          <p:nvSpPr>
            <p:cNvPr id="31" name="Freeform 864">
              <a:extLst>
                <a:ext uri="{FF2B5EF4-FFF2-40B4-BE49-F238E27FC236}">
                  <a16:creationId xmlns:a16="http://schemas.microsoft.com/office/drawing/2014/main" id="{5A9D7B40-E046-455A-9F4A-2A9BF2E4DE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71" y="3519"/>
              <a:ext cx="198" cy="184"/>
            </a:xfrm>
            <a:custGeom>
              <a:avLst/>
              <a:gdLst>
                <a:gd name="T0" fmla="*/ 256 w 298"/>
                <a:gd name="T1" fmla="*/ 192 h 277"/>
                <a:gd name="T2" fmla="*/ 223 w 298"/>
                <a:gd name="T3" fmla="*/ 208 h 277"/>
                <a:gd name="T4" fmla="*/ 84 w 298"/>
                <a:gd name="T5" fmla="*/ 146 h 277"/>
                <a:gd name="T6" fmla="*/ 85 w 298"/>
                <a:gd name="T7" fmla="*/ 139 h 277"/>
                <a:gd name="T8" fmla="*/ 84 w 298"/>
                <a:gd name="T9" fmla="*/ 131 h 277"/>
                <a:gd name="T10" fmla="*/ 223 w 298"/>
                <a:gd name="T11" fmla="*/ 69 h 277"/>
                <a:gd name="T12" fmla="*/ 256 w 298"/>
                <a:gd name="T13" fmla="*/ 85 h 277"/>
                <a:gd name="T14" fmla="*/ 298 w 298"/>
                <a:gd name="T15" fmla="*/ 43 h 277"/>
                <a:gd name="T16" fmla="*/ 256 w 298"/>
                <a:gd name="T17" fmla="*/ 0 h 277"/>
                <a:gd name="T18" fmla="*/ 213 w 298"/>
                <a:gd name="T19" fmla="*/ 43 h 277"/>
                <a:gd name="T20" fmla="*/ 214 w 298"/>
                <a:gd name="T21" fmla="*/ 50 h 277"/>
                <a:gd name="T22" fmla="*/ 75 w 298"/>
                <a:gd name="T23" fmla="*/ 112 h 277"/>
                <a:gd name="T24" fmla="*/ 42 w 298"/>
                <a:gd name="T25" fmla="*/ 96 h 277"/>
                <a:gd name="T26" fmla="*/ 0 w 298"/>
                <a:gd name="T27" fmla="*/ 139 h 277"/>
                <a:gd name="T28" fmla="*/ 42 w 298"/>
                <a:gd name="T29" fmla="*/ 181 h 277"/>
                <a:gd name="T30" fmla="*/ 75 w 298"/>
                <a:gd name="T31" fmla="*/ 165 h 277"/>
                <a:gd name="T32" fmla="*/ 214 w 298"/>
                <a:gd name="T33" fmla="*/ 227 h 277"/>
                <a:gd name="T34" fmla="*/ 213 w 298"/>
                <a:gd name="T35" fmla="*/ 235 h 277"/>
                <a:gd name="T36" fmla="*/ 256 w 298"/>
                <a:gd name="T37" fmla="*/ 277 h 277"/>
                <a:gd name="T38" fmla="*/ 298 w 298"/>
                <a:gd name="T39" fmla="*/ 235 h 277"/>
                <a:gd name="T40" fmla="*/ 256 w 298"/>
                <a:gd name="T41" fmla="*/ 192 h 277"/>
                <a:gd name="T42" fmla="*/ 256 w 298"/>
                <a:gd name="T43" fmla="*/ 21 h 277"/>
                <a:gd name="T44" fmla="*/ 277 w 298"/>
                <a:gd name="T45" fmla="*/ 43 h 277"/>
                <a:gd name="T46" fmla="*/ 256 w 298"/>
                <a:gd name="T47" fmla="*/ 64 h 277"/>
                <a:gd name="T48" fmla="*/ 234 w 298"/>
                <a:gd name="T49" fmla="*/ 43 h 277"/>
                <a:gd name="T50" fmla="*/ 256 w 298"/>
                <a:gd name="T51" fmla="*/ 21 h 277"/>
                <a:gd name="T52" fmla="*/ 42 w 298"/>
                <a:gd name="T53" fmla="*/ 160 h 277"/>
                <a:gd name="T54" fmla="*/ 21 w 298"/>
                <a:gd name="T55" fmla="*/ 139 h 277"/>
                <a:gd name="T56" fmla="*/ 42 w 298"/>
                <a:gd name="T57" fmla="*/ 117 h 277"/>
                <a:gd name="T58" fmla="*/ 64 w 298"/>
                <a:gd name="T59" fmla="*/ 139 h 277"/>
                <a:gd name="T60" fmla="*/ 42 w 298"/>
                <a:gd name="T61" fmla="*/ 160 h 277"/>
                <a:gd name="T62" fmla="*/ 256 w 298"/>
                <a:gd name="T63" fmla="*/ 256 h 277"/>
                <a:gd name="T64" fmla="*/ 234 w 298"/>
                <a:gd name="T65" fmla="*/ 235 h 277"/>
                <a:gd name="T66" fmla="*/ 256 w 298"/>
                <a:gd name="T67" fmla="*/ 213 h 277"/>
                <a:gd name="T68" fmla="*/ 277 w 298"/>
                <a:gd name="T69" fmla="*/ 235 h 277"/>
                <a:gd name="T70" fmla="*/ 256 w 298"/>
                <a:gd name="T71" fmla="*/ 256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98" h="277">
                  <a:moveTo>
                    <a:pt x="256" y="192"/>
                  </a:moveTo>
                  <a:cubicBezTo>
                    <a:pt x="242" y="192"/>
                    <a:pt x="230" y="198"/>
                    <a:pt x="223" y="208"/>
                  </a:cubicBezTo>
                  <a:cubicBezTo>
                    <a:pt x="84" y="146"/>
                    <a:pt x="84" y="146"/>
                    <a:pt x="84" y="146"/>
                  </a:cubicBezTo>
                  <a:cubicBezTo>
                    <a:pt x="85" y="143"/>
                    <a:pt x="85" y="141"/>
                    <a:pt x="85" y="139"/>
                  </a:cubicBezTo>
                  <a:cubicBezTo>
                    <a:pt x="85" y="136"/>
                    <a:pt x="85" y="134"/>
                    <a:pt x="84" y="131"/>
                  </a:cubicBezTo>
                  <a:cubicBezTo>
                    <a:pt x="223" y="69"/>
                    <a:pt x="223" y="69"/>
                    <a:pt x="223" y="69"/>
                  </a:cubicBezTo>
                  <a:cubicBezTo>
                    <a:pt x="230" y="79"/>
                    <a:pt x="242" y="85"/>
                    <a:pt x="256" y="85"/>
                  </a:cubicBezTo>
                  <a:cubicBezTo>
                    <a:pt x="279" y="85"/>
                    <a:pt x="298" y="66"/>
                    <a:pt x="298" y="43"/>
                  </a:cubicBezTo>
                  <a:cubicBezTo>
                    <a:pt x="298" y="19"/>
                    <a:pt x="279" y="0"/>
                    <a:pt x="256" y="0"/>
                  </a:cubicBezTo>
                  <a:cubicBezTo>
                    <a:pt x="232" y="0"/>
                    <a:pt x="213" y="19"/>
                    <a:pt x="213" y="43"/>
                  </a:cubicBezTo>
                  <a:cubicBezTo>
                    <a:pt x="213" y="45"/>
                    <a:pt x="213" y="48"/>
                    <a:pt x="214" y="50"/>
                  </a:cubicBezTo>
                  <a:cubicBezTo>
                    <a:pt x="75" y="112"/>
                    <a:pt x="75" y="112"/>
                    <a:pt x="75" y="112"/>
                  </a:cubicBezTo>
                  <a:cubicBezTo>
                    <a:pt x="68" y="102"/>
                    <a:pt x="56" y="96"/>
                    <a:pt x="42" y="96"/>
                  </a:cubicBezTo>
                  <a:cubicBezTo>
                    <a:pt x="19" y="96"/>
                    <a:pt x="0" y="115"/>
                    <a:pt x="0" y="139"/>
                  </a:cubicBezTo>
                  <a:cubicBezTo>
                    <a:pt x="0" y="162"/>
                    <a:pt x="19" y="181"/>
                    <a:pt x="42" y="181"/>
                  </a:cubicBezTo>
                  <a:cubicBezTo>
                    <a:pt x="56" y="181"/>
                    <a:pt x="68" y="175"/>
                    <a:pt x="75" y="165"/>
                  </a:cubicBezTo>
                  <a:cubicBezTo>
                    <a:pt x="214" y="227"/>
                    <a:pt x="214" y="227"/>
                    <a:pt x="214" y="227"/>
                  </a:cubicBezTo>
                  <a:cubicBezTo>
                    <a:pt x="213" y="230"/>
                    <a:pt x="213" y="232"/>
                    <a:pt x="213" y="235"/>
                  </a:cubicBezTo>
                  <a:cubicBezTo>
                    <a:pt x="213" y="258"/>
                    <a:pt x="232" y="277"/>
                    <a:pt x="256" y="277"/>
                  </a:cubicBezTo>
                  <a:cubicBezTo>
                    <a:pt x="279" y="277"/>
                    <a:pt x="298" y="258"/>
                    <a:pt x="298" y="235"/>
                  </a:cubicBezTo>
                  <a:cubicBezTo>
                    <a:pt x="298" y="211"/>
                    <a:pt x="279" y="192"/>
                    <a:pt x="256" y="192"/>
                  </a:cubicBezTo>
                  <a:close/>
                  <a:moveTo>
                    <a:pt x="256" y="21"/>
                  </a:moveTo>
                  <a:cubicBezTo>
                    <a:pt x="267" y="21"/>
                    <a:pt x="277" y="31"/>
                    <a:pt x="277" y="43"/>
                  </a:cubicBezTo>
                  <a:cubicBezTo>
                    <a:pt x="277" y="54"/>
                    <a:pt x="267" y="64"/>
                    <a:pt x="256" y="64"/>
                  </a:cubicBezTo>
                  <a:cubicBezTo>
                    <a:pt x="244" y="64"/>
                    <a:pt x="234" y="54"/>
                    <a:pt x="234" y="43"/>
                  </a:cubicBezTo>
                  <a:cubicBezTo>
                    <a:pt x="234" y="31"/>
                    <a:pt x="244" y="21"/>
                    <a:pt x="256" y="21"/>
                  </a:cubicBezTo>
                  <a:close/>
                  <a:moveTo>
                    <a:pt x="42" y="160"/>
                  </a:moveTo>
                  <a:cubicBezTo>
                    <a:pt x="31" y="160"/>
                    <a:pt x="21" y="150"/>
                    <a:pt x="21" y="139"/>
                  </a:cubicBezTo>
                  <a:cubicBezTo>
                    <a:pt x="21" y="127"/>
                    <a:pt x="31" y="117"/>
                    <a:pt x="42" y="117"/>
                  </a:cubicBezTo>
                  <a:cubicBezTo>
                    <a:pt x="54" y="117"/>
                    <a:pt x="64" y="127"/>
                    <a:pt x="64" y="139"/>
                  </a:cubicBezTo>
                  <a:cubicBezTo>
                    <a:pt x="64" y="150"/>
                    <a:pt x="54" y="160"/>
                    <a:pt x="42" y="160"/>
                  </a:cubicBezTo>
                  <a:close/>
                  <a:moveTo>
                    <a:pt x="256" y="256"/>
                  </a:moveTo>
                  <a:cubicBezTo>
                    <a:pt x="244" y="256"/>
                    <a:pt x="234" y="246"/>
                    <a:pt x="234" y="235"/>
                  </a:cubicBezTo>
                  <a:cubicBezTo>
                    <a:pt x="234" y="223"/>
                    <a:pt x="244" y="213"/>
                    <a:pt x="256" y="213"/>
                  </a:cubicBezTo>
                  <a:cubicBezTo>
                    <a:pt x="267" y="213"/>
                    <a:pt x="277" y="223"/>
                    <a:pt x="277" y="235"/>
                  </a:cubicBezTo>
                  <a:cubicBezTo>
                    <a:pt x="277" y="246"/>
                    <a:pt x="267" y="256"/>
                    <a:pt x="256" y="2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xmlns:mc="http://schemas.openxmlformats.org/markup-compatibility/2006" xmlns:p14="http://schemas.microsoft.com/office/powerpoint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96"/>
            </a:p>
          </p:txBody>
        </p:sp>
      </p:grpSp>
      <p:grpSp>
        <p:nvGrpSpPr>
          <p:cNvPr id="32" name="Group 1023">
            <a:extLst>
              <a:ext uri="{FF2B5EF4-FFF2-40B4-BE49-F238E27FC236}">
                <a16:creationId xmlns:a16="http://schemas.microsoft.com/office/drawing/2014/main" id="{9F695F25-005E-463C-80D5-21A4B47ABD5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88623" y="2564313"/>
            <a:ext cx="396000" cy="396000"/>
            <a:chOff x="5852" y="4018"/>
            <a:chExt cx="340" cy="340"/>
          </a:xfrm>
          <a:solidFill>
            <a:srgbClr val="014694"/>
          </a:solidFill>
        </p:grpSpPr>
        <p:sp>
          <p:nvSpPr>
            <p:cNvPr id="33" name="Freeform 1024">
              <a:extLst>
                <a:ext uri="{FF2B5EF4-FFF2-40B4-BE49-F238E27FC236}">
                  <a16:creationId xmlns:a16="http://schemas.microsoft.com/office/drawing/2014/main" id="{FCDA17FE-2FBE-432F-99FE-EB3ABCEDF4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2" y="4018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xmlns:mc="http://schemas.openxmlformats.org/markup-compatibility/2006" xmlns:p14="http://schemas.microsoft.com/office/powerpoint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319"/>
            </a:p>
          </p:txBody>
        </p:sp>
        <p:sp>
          <p:nvSpPr>
            <p:cNvPr id="34" name="Freeform 1025">
              <a:extLst>
                <a:ext uri="{FF2B5EF4-FFF2-40B4-BE49-F238E27FC236}">
                  <a16:creationId xmlns:a16="http://schemas.microsoft.com/office/drawing/2014/main" id="{A36806BC-058A-4E02-B3CC-D41DF73CCF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30" y="4096"/>
              <a:ext cx="184" cy="184"/>
            </a:xfrm>
            <a:custGeom>
              <a:avLst/>
              <a:gdLst>
                <a:gd name="T0" fmla="*/ 277 w 277"/>
                <a:gd name="T1" fmla="*/ 53 h 277"/>
                <a:gd name="T2" fmla="*/ 267 w 277"/>
                <a:gd name="T3" fmla="*/ 0 h 277"/>
                <a:gd name="T4" fmla="*/ 213 w 277"/>
                <a:gd name="T5" fmla="*/ 11 h 277"/>
                <a:gd name="T6" fmla="*/ 64 w 277"/>
                <a:gd name="T7" fmla="*/ 21 h 277"/>
                <a:gd name="T8" fmla="*/ 53 w 277"/>
                <a:gd name="T9" fmla="*/ 0 h 277"/>
                <a:gd name="T10" fmla="*/ 0 w 277"/>
                <a:gd name="T11" fmla="*/ 11 h 277"/>
                <a:gd name="T12" fmla="*/ 11 w 277"/>
                <a:gd name="T13" fmla="*/ 64 h 277"/>
                <a:gd name="T14" fmla="*/ 21 w 277"/>
                <a:gd name="T15" fmla="*/ 213 h 277"/>
                <a:gd name="T16" fmla="*/ 0 w 277"/>
                <a:gd name="T17" fmla="*/ 224 h 277"/>
                <a:gd name="T18" fmla="*/ 11 w 277"/>
                <a:gd name="T19" fmla="*/ 277 h 277"/>
                <a:gd name="T20" fmla="*/ 64 w 277"/>
                <a:gd name="T21" fmla="*/ 267 h 277"/>
                <a:gd name="T22" fmla="*/ 213 w 277"/>
                <a:gd name="T23" fmla="*/ 256 h 277"/>
                <a:gd name="T24" fmla="*/ 224 w 277"/>
                <a:gd name="T25" fmla="*/ 277 h 277"/>
                <a:gd name="T26" fmla="*/ 277 w 277"/>
                <a:gd name="T27" fmla="*/ 267 h 277"/>
                <a:gd name="T28" fmla="*/ 267 w 277"/>
                <a:gd name="T29" fmla="*/ 213 h 277"/>
                <a:gd name="T30" fmla="*/ 256 w 277"/>
                <a:gd name="T31" fmla="*/ 64 h 277"/>
                <a:gd name="T32" fmla="*/ 235 w 277"/>
                <a:gd name="T33" fmla="*/ 21 h 277"/>
                <a:gd name="T34" fmla="*/ 256 w 277"/>
                <a:gd name="T35" fmla="*/ 43 h 277"/>
                <a:gd name="T36" fmla="*/ 235 w 277"/>
                <a:gd name="T37" fmla="*/ 21 h 277"/>
                <a:gd name="T38" fmla="*/ 43 w 277"/>
                <a:gd name="T39" fmla="*/ 21 h 277"/>
                <a:gd name="T40" fmla="*/ 21 w 277"/>
                <a:gd name="T41" fmla="*/ 43 h 277"/>
                <a:gd name="T42" fmla="*/ 43 w 277"/>
                <a:gd name="T43" fmla="*/ 256 h 277"/>
                <a:gd name="T44" fmla="*/ 21 w 277"/>
                <a:gd name="T45" fmla="*/ 235 h 277"/>
                <a:gd name="T46" fmla="*/ 43 w 277"/>
                <a:gd name="T47" fmla="*/ 256 h 277"/>
                <a:gd name="T48" fmla="*/ 235 w 277"/>
                <a:gd name="T49" fmla="*/ 256 h 277"/>
                <a:gd name="T50" fmla="*/ 256 w 277"/>
                <a:gd name="T51" fmla="*/ 235 h 277"/>
                <a:gd name="T52" fmla="*/ 235 w 277"/>
                <a:gd name="T53" fmla="*/ 213 h 277"/>
                <a:gd name="T54" fmla="*/ 213 w 277"/>
                <a:gd name="T55" fmla="*/ 224 h 277"/>
                <a:gd name="T56" fmla="*/ 64 w 277"/>
                <a:gd name="T57" fmla="*/ 235 h 277"/>
                <a:gd name="T58" fmla="*/ 53 w 277"/>
                <a:gd name="T59" fmla="*/ 213 h 277"/>
                <a:gd name="T60" fmla="*/ 43 w 277"/>
                <a:gd name="T61" fmla="*/ 64 h 277"/>
                <a:gd name="T62" fmla="*/ 64 w 277"/>
                <a:gd name="T63" fmla="*/ 53 h 277"/>
                <a:gd name="T64" fmla="*/ 213 w 277"/>
                <a:gd name="T65" fmla="*/ 43 h 277"/>
                <a:gd name="T66" fmla="*/ 224 w 277"/>
                <a:gd name="T67" fmla="*/ 64 h 277"/>
                <a:gd name="T68" fmla="*/ 235 w 277"/>
                <a:gd name="T69" fmla="*/ 213 h 277"/>
                <a:gd name="T70" fmla="*/ 160 w 277"/>
                <a:gd name="T71" fmla="*/ 107 h 277"/>
                <a:gd name="T72" fmla="*/ 149 w 277"/>
                <a:gd name="T73" fmla="*/ 75 h 277"/>
                <a:gd name="T74" fmla="*/ 75 w 277"/>
                <a:gd name="T75" fmla="*/ 85 h 277"/>
                <a:gd name="T76" fmla="*/ 85 w 277"/>
                <a:gd name="T77" fmla="*/ 160 h 277"/>
                <a:gd name="T78" fmla="*/ 107 w 277"/>
                <a:gd name="T79" fmla="*/ 192 h 277"/>
                <a:gd name="T80" fmla="*/ 192 w 277"/>
                <a:gd name="T81" fmla="*/ 203 h 277"/>
                <a:gd name="T82" fmla="*/ 203 w 277"/>
                <a:gd name="T83" fmla="*/ 117 h 277"/>
                <a:gd name="T84" fmla="*/ 96 w 277"/>
                <a:gd name="T85" fmla="*/ 139 h 277"/>
                <a:gd name="T86" fmla="*/ 139 w 277"/>
                <a:gd name="T87" fmla="*/ 96 h 277"/>
                <a:gd name="T88" fmla="*/ 96 w 277"/>
                <a:gd name="T89" fmla="*/ 139 h 277"/>
                <a:gd name="T90" fmla="*/ 128 w 277"/>
                <a:gd name="T91" fmla="*/ 181 h 277"/>
                <a:gd name="T92" fmla="*/ 149 w 277"/>
                <a:gd name="T93" fmla="*/ 160 h 277"/>
                <a:gd name="T94" fmla="*/ 160 w 277"/>
                <a:gd name="T95" fmla="*/ 128 h 277"/>
                <a:gd name="T96" fmla="*/ 181 w 277"/>
                <a:gd name="T97" fmla="*/ 181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77" h="277">
                  <a:moveTo>
                    <a:pt x="267" y="64"/>
                  </a:moveTo>
                  <a:cubicBezTo>
                    <a:pt x="273" y="64"/>
                    <a:pt x="277" y="59"/>
                    <a:pt x="277" y="53"/>
                  </a:cubicBezTo>
                  <a:cubicBezTo>
                    <a:pt x="277" y="11"/>
                    <a:pt x="277" y="11"/>
                    <a:pt x="277" y="11"/>
                  </a:cubicBezTo>
                  <a:cubicBezTo>
                    <a:pt x="277" y="5"/>
                    <a:pt x="273" y="0"/>
                    <a:pt x="267" y="0"/>
                  </a:cubicBezTo>
                  <a:cubicBezTo>
                    <a:pt x="224" y="0"/>
                    <a:pt x="224" y="0"/>
                    <a:pt x="224" y="0"/>
                  </a:cubicBezTo>
                  <a:cubicBezTo>
                    <a:pt x="218" y="0"/>
                    <a:pt x="213" y="5"/>
                    <a:pt x="213" y="11"/>
                  </a:cubicBezTo>
                  <a:cubicBezTo>
                    <a:pt x="213" y="21"/>
                    <a:pt x="213" y="21"/>
                    <a:pt x="213" y="21"/>
                  </a:cubicBezTo>
                  <a:cubicBezTo>
                    <a:pt x="64" y="21"/>
                    <a:pt x="64" y="21"/>
                    <a:pt x="64" y="21"/>
                  </a:cubicBezTo>
                  <a:cubicBezTo>
                    <a:pt x="64" y="11"/>
                    <a:pt x="64" y="11"/>
                    <a:pt x="64" y="11"/>
                  </a:cubicBezTo>
                  <a:cubicBezTo>
                    <a:pt x="64" y="5"/>
                    <a:pt x="59" y="0"/>
                    <a:pt x="53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59"/>
                    <a:pt x="5" y="64"/>
                    <a:pt x="11" y="64"/>
                  </a:cubicBezTo>
                  <a:cubicBezTo>
                    <a:pt x="21" y="64"/>
                    <a:pt x="21" y="64"/>
                    <a:pt x="21" y="64"/>
                  </a:cubicBezTo>
                  <a:cubicBezTo>
                    <a:pt x="21" y="213"/>
                    <a:pt x="21" y="213"/>
                    <a:pt x="21" y="213"/>
                  </a:cubicBezTo>
                  <a:cubicBezTo>
                    <a:pt x="11" y="213"/>
                    <a:pt x="11" y="213"/>
                    <a:pt x="11" y="213"/>
                  </a:cubicBezTo>
                  <a:cubicBezTo>
                    <a:pt x="5" y="213"/>
                    <a:pt x="0" y="218"/>
                    <a:pt x="0" y="224"/>
                  </a:cubicBezTo>
                  <a:cubicBezTo>
                    <a:pt x="0" y="267"/>
                    <a:pt x="0" y="267"/>
                    <a:pt x="0" y="267"/>
                  </a:cubicBezTo>
                  <a:cubicBezTo>
                    <a:pt x="0" y="273"/>
                    <a:pt x="5" y="277"/>
                    <a:pt x="11" y="277"/>
                  </a:cubicBezTo>
                  <a:cubicBezTo>
                    <a:pt x="53" y="277"/>
                    <a:pt x="53" y="277"/>
                    <a:pt x="53" y="277"/>
                  </a:cubicBezTo>
                  <a:cubicBezTo>
                    <a:pt x="59" y="277"/>
                    <a:pt x="64" y="273"/>
                    <a:pt x="64" y="267"/>
                  </a:cubicBezTo>
                  <a:cubicBezTo>
                    <a:pt x="64" y="256"/>
                    <a:pt x="64" y="256"/>
                    <a:pt x="64" y="256"/>
                  </a:cubicBezTo>
                  <a:cubicBezTo>
                    <a:pt x="213" y="256"/>
                    <a:pt x="213" y="256"/>
                    <a:pt x="213" y="256"/>
                  </a:cubicBezTo>
                  <a:cubicBezTo>
                    <a:pt x="213" y="267"/>
                    <a:pt x="213" y="267"/>
                    <a:pt x="213" y="267"/>
                  </a:cubicBezTo>
                  <a:cubicBezTo>
                    <a:pt x="213" y="273"/>
                    <a:pt x="218" y="277"/>
                    <a:pt x="224" y="277"/>
                  </a:cubicBezTo>
                  <a:cubicBezTo>
                    <a:pt x="267" y="277"/>
                    <a:pt x="267" y="277"/>
                    <a:pt x="267" y="277"/>
                  </a:cubicBezTo>
                  <a:cubicBezTo>
                    <a:pt x="273" y="277"/>
                    <a:pt x="277" y="273"/>
                    <a:pt x="277" y="267"/>
                  </a:cubicBezTo>
                  <a:cubicBezTo>
                    <a:pt x="277" y="224"/>
                    <a:pt x="277" y="224"/>
                    <a:pt x="277" y="224"/>
                  </a:cubicBezTo>
                  <a:cubicBezTo>
                    <a:pt x="277" y="218"/>
                    <a:pt x="273" y="213"/>
                    <a:pt x="267" y="213"/>
                  </a:cubicBezTo>
                  <a:cubicBezTo>
                    <a:pt x="256" y="213"/>
                    <a:pt x="256" y="213"/>
                    <a:pt x="256" y="213"/>
                  </a:cubicBezTo>
                  <a:cubicBezTo>
                    <a:pt x="256" y="64"/>
                    <a:pt x="256" y="64"/>
                    <a:pt x="256" y="64"/>
                  </a:cubicBezTo>
                  <a:lnTo>
                    <a:pt x="267" y="64"/>
                  </a:lnTo>
                  <a:close/>
                  <a:moveTo>
                    <a:pt x="235" y="21"/>
                  </a:moveTo>
                  <a:cubicBezTo>
                    <a:pt x="256" y="21"/>
                    <a:pt x="256" y="21"/>
                    <a:pt x="256" y="21"/>
                  </a:cubicBezTo>
                  <a:cubicBezTo>
                    <a:pt x="256" y="43"/>
                    <a:pt x="256" y="43"/>
                    <a:pt x="256" y="43"/>
                  </a:cubicBezTo>
                  <a:cubicBezTo>
                    <a:pt x="235" y="43"/>
                    <a:pt x="235" y="43"/>
                    <a:pt x="235" y="43"/>
                  </a:cubicBezTo>
                  <a:lnTo>
                    <a:pt x="235" y="21"/>
                  </a:lnTo>
                  <a:close/>
                  <a:moveTo>
                    <a:pt x="21" y="21"/>
                  </a:moveTo>
                  <a:cubicBezTo>
                    <a:pt x="43" y="21"/>
                    <a:pt x="43" y="21"/>
                    <a:pt x="43" y="21"/>
                  </a:cubicBezTo>
                  <a:cubicBezTo>
                    <a:pt x="43" y="43"/>
                    <a:pt x="43" y="43"/>
                    <a:pt x="43" y="43"/>
                  </a:cubicBezTo>
                  <a:cubicBezTo>
                    <a:pt x="21" y="43"/>
                    <a:pt x="21" y="43"/>
                    <a:pt x="21" y="43"/>
                  </a:cubicBezTo>
                  <a:lnTo>
                    <a:pt x="21" y="21"/>
                  </a:lnTo>
                  <a:close/>
                  <a:moveTo>
                    <a:pt x="43" y="256"/>
                  </a:moveTo>
                  <a:cubicBezTo>
                    <a:pt x="21" y="256"/>
                    <a:pt x="21" y="256"/>
                    <a:pt x="21" y="256"/>
                  </a:cubicBezTo>
                  <a:cubicBezTo>
                    <a:pt x="21" y="235"/>
                    <a:pt x="21" y="235"/>
                    <a:pt x="21" y="235"/>
                  </a:cubicBezTo>
                  <a:cubicBezTo>
                    <a:pt x="43" y="235"/>
                    <a:pt x="43" y="235"/>
                    <a:pt x="43" y="235"/>
                  </a:cubicBezTo>
                  <a:lnTo>
                    <a:pt x="43" y="256"/>
                  </a:lnTo>
                  <a:close/>
                  <a:moveTo>
                    <a:pt x="256" y="256"/>
                  </a:moveTo>
                  <a:cubicBezTo>
                    <a:pt x="235" y="256"/>
                    <a:pt x="235" y="256"/>
                    <a:pt x="235" y="256"/>
                  </a:cubicBezTo>
                  <a:cubicBezTo>
                    <a:pt x="235" y="235"/>
                    <a:pt x="235" y="235"/>
                    <a:pt x="235" y="235"/>
                  </a:cubicBezTo>
                  <a:cubicBezTo>
                    <a:pt x="256" y="235"/>
                    <a:pt x="256" y="235"/>
                    <a:pt x="256" y="235"/>
                  </a:cubicBezTo>
                  <a:lnTo>
                    <a:pt x="256" y="256"/>
                  </a:lnTo>
                  <a:close/>
                  <a:moveTo>
                    <a:pt x="235" y="213"/>
                  </a:moveTo>
                  <a:cubicBezTo>
                    <a:pt x="224" y="213"/>
                    <a:pt x="224" y="213"/>
                    <a:pt x="224" y="213"/>
                  </a:cubicBezTo>
                  <a:cubicBezTo>
                    <a:pt x="218" y="213"/>
                    <a:pt x="213" y="218"/>
                    <a:pt x="213" y="224"/>
                  </a:cubicBezTo>
                  <a:cubicBezTo>
                    <a:pt x="213" y="235"/>
                    <a:pt x="213" y="235"/>
                    <a:pt x="213" y="235"/>
                  </a:cubicBezTo>
                  <a:cubicBezTo>
                    <a:pt x="64" y="235"/>
                    <a:pt x="64" y="235"/>
                    <a:pt x="64" y="235"/>
                  </a:cubicBezTo>
                  <a:cubicBezTo>
                    <a:pt x="64" y="224"/>
                    <a:pt x="64" y="224"/>
                    <a:pt x="64" y="224"/>
                  </a:cubicBezTo>
                  <a:cubicBezTo>
                    <a:pt x="64" y="218"/>
                    <a:pt x="59" y="213"/>
                    <a:pt x="53" y="213"/>
                  </a:cubicBezTo>
                  <a:cubicBezTo>
                    <a:pt x="43" y="213"/>
                    <a:pt x="43" y="213"/>
                    <a:pt x="43" y="213"/>
                  </a:cubicBezTo>
                  <a:cubicBezTo>
                    <a:pt x="43" y="64"/>
                    <a:pt x="43" y="64"/>
                    <a:pt x="43" y="64"/>
                  </a:cubicBezTo>
                  <a:cubicBezTo>
                    <a:pt x="53" y="64"/>
                    <a:pt x="53" y="64"/>
                    <a:pt x="53" y="64"/>
                  </a:cubicBezTo>
                  <a:cubicBezTo>
                    <a:pt x="59" y="64"/>
                    <a:pt x="64" y="59"/>
                    <a:pt x="64" y="53"/>
                  </a:cubicBezTo>
                  <a:cubicBezTo>
                    <a:pt x="64" y="43"/>
                    <a:pt x="64" y="43"/>
                    <a:pt x="64" y="43"/>
                  </a:cubicBezTo>
                  <a:cubicBezTo>
                    <a:pt x="213" y="43"/>
                    <a:pt x="213" y="43"/>
                    <a:pt x="213" y="43"/>
                  </a:cubicBezTo>
                  <a:cubicBezTo>
                    <a:pt x="213" y="53"/>
                    <a:pt x="213" y="53"/>
                    <a:pt x="213" y="53"/>
                  </a:cubicBezTo>
                  <a:cubicBezTo>
                    <a:pt x="213" y="59"/>
                    <a:pt x="218" y="64"/>
                    <a:pt x="224" y="64"/>
                  </a:cubicBezTo>
                  <a:cubicBezTo>
                    <a:pt x="235" y="64"/>
                    <a:pt x="235" y="64"/>
                    <a:pt x="235" y="64"/>
                  </a:cubicBezTo>
                  <a:lnTo>
                    <a:pt x="235" y="213"/>
                  </a:lnTo>
                  <a:close/>
                  <a:moveTo>
                    <a:pt x="192" y="107"/>
                  </a:moveTo>
                  <a:cubicBezTo>
                    <a:pt x="160" y="107"/>
                    <a:pt x="160" y="107"/>
                    <a:pt x="160" y="107"/>
                  </a:cubicBezTo>
                  <a:cubicBezTo>
                    <a:pt x="160" y="85"/>
                    <a:pt x="160" y="85"/>
                    <a:pt x="160" y="85"/>
                  </a:cubicBezTo>
                  <a:cubicBezTo>
                    <a:pt x="160" y="79"/>
                    <a:pt x="155" y="75"/>
                    <a:pt x="149" y="75"/>
                  </a:cubicBezTo>
                  <a:cubicBezTo>
                    <a:pt x="85" y="75"/>
                    <a:pt x="85" y="75"/>
                    <a:pt x="85" y="75"/>
                  </a:cubicBezTo>
                  <a:cubicBezTo>
                    <a:pt x="79" y="75"/>
                    <a:pt x="75" y="79"/>
                    <a:pt x="75" y="85"/>
                  </a:cubicBezTo>
                  <a:cubicBezTo>
                    <a:pt x="75" y="149"/>
                    <a:pt x="75" y="149"/>
                    <a:pt x="75" y="149"/>
                  </a:cubicBezTo>
                  <a:cubicBezTo>
                    <a:pt x="75" y="155"/>
                    <a:pt x="79" y="160"/>
                    <a:pt x="85" y="160"/>
                  </a:cubicBezTo>
                  <a:cubicBezTo>
                    <a:pt x="107" y="160"/>
                    <a:pt x="107" y="160"/>
                    <a:pt x="107" y="160"/>
                  </a:cubicBezTo>
                  <a:cubicBezTo>
                    <a:pt x="107" y="192"/>
                    <a:pt x="107" y="192"/>
                    <a:pt x="107" y="192"/>
                  </a:cubicBezTo>
                  <a:cubicBezTo>
                    <a:pt x="107" y="198"/>
                    <a:pt x="111" y="203"/>
                    <a:pt x="117" y="203"/>
                  </a:cubicBezTo>
                  <a:cubicBezTo>
                    <a:pt x="192" y="203"/>
                    <a:pt x="192" y="203"/>
                    <a:pt x="192" y="203"/>
                  </a:cubicBezTo>
                  <a:cubicBezTo>
                    <a:pt x="198" y="203"/>
                    <a:pt x="203" y="198"/>
                    <a:pt x="203" y="192"/>
                  </a:cubicBezTo>
                  <a:cubicBezTo>
                    <a:pt x="203" y="117"/>
                    <a:pt x="203" y="117"/>
                    <a:pt x="203" y="117"/>
                  </a:cubicBezTo>
                  <a:cubicBezTo>
                    <a:pt x="203" y="111"/>
                    <a:pt x="198" y="107"/>
                    <a:pt x="192" y="107"/>
                  </a:cubicBezTo>
                  <a:close/>
                  <a:moveTo>
                    <a:pt x="96" y="139"/>
                  </a:moveTo>
                  <a:cubicBezTo>
                    <a:pt x="96" y="96"/>
                    <a:pt x="96" y="96"/>
                    <a:pt x="96" y="96"/>
                  </a:cubicBezTo>
                  <a:cubicBezTo>
                    <a:pt x="139" y="96"/>
                    <a:pt x="139" y="96"/>
                    <a:pt x="139" y="96"/>
                  </a:cubicBezTo>
                  <a:cubicBezTo>
                    <a:pt x="139" y="139"/>
                    <a:pt x="139" y="139"/>
                    <a:pt x="139" y="139"/>
                  </a:cubicBezTo>
                  <a:lnTo>
                    <a:pt x="96" y="139"/>
                  </a:lnTo>
                  <a:close/>
                  <a:moveTo>
                    <a:pt x="181" y="181"/>
                  </a:moveTo>
                  <a:cubicBezTo>
                    <a:pt x="128" y="181"/>
                    <a:pt x="128" y="181"/>
                    <a:pt x="128" y="181"/>
                  </a:cubicBezTo>
                  <a:cubicBezTo>
                    <a:pt x="128" y="160"/>
                    <a:pt x="128" y="160"/>
                    <a:pt x="128" y="160"/>
                  </a:cubicBezTo>
                  <a:cubicBezTo>
                    <a:pt x="149" y="160"/>
                    <a:pt x="149" y="160"/>
                    <a:pt x="149" y="160"/>
                  </a:cubicBezTo>
                  <a:cubicBezTo>
                    <a:pt x="155" y="160"/>
                    <a:pt x="160" y="155"/>
                    <a:pt x="160" y="149"/>
                  </a:cubicBezTo>
                  <a:cubicBezTo>
                    <a:pt x="160" y="128"/>
                    <a:pt x="160" y="128"/>
                    <a:pt x="160" y="128"/>
                  </a:cubicBezTo>
                  <a:cubicBezTo>
                    <a:pt x="181" y="128"/>
                    <a:pt x="181" y="128"/>
                    <a:pt x="181" y="128"/>
                  </a:cubicBezTo>
                  <a:lnTo>
                    <a:pt x="181" y="1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xmlns:mc="http://schemas.openxmlformats.org/markup-compatibility/2006" xmlns:p14="http://schemas.microsoft.com/office/powerpoint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319"/>
            </a:p>
          </p:txBody>
        </p:sp>
      </p:grpSp>
      <p:grpSp>
        <p:nvGrpSpPr>
          <p:cNvPr id="35" name="Group 489">
            <a:extLst>
              <a:ext uri="{FF2B5EF4-FFF2-40B4-BE49-F238E27FC236}">
                <a16:creationId xmlns:a16="http://schemas.microsoft.com/office/drawing/2014/main" id="{05858570-D6B7-45A6-BD56-D620CE404C0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88625" y="1373303"/>
            <a:ext cx="396001" cy="396001"/>
            <a:chOff x="2920" y="2264"/>
            <a:chExt cx="340" cy="340"/>
          </a:xfrm>
          <a:solidFill>
            <a:srgbClr val="014694"/>
          </a:solidFill>
        </p:grpSpPr>
        <p:sp>
          <p:nvSpPr>
            <p:cNvPr id="36" name="Freeform 490">
              <a:extLst>
                <a:ext uri="{FF2B5EF4-FFF2-40B4-BE49-F238E27FC236}">
                  <a16:creationId xmlns:a16="http://schemas.microsoft.com/office/drawing/2014/main" id="{A05AE50C-5282-4026-B91D-30B73DE833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" y="2363"/>
              <a:ext cx="184" cy="113"/>
            </a:xfrm>
            <a:custGeom>
              <a:avLst/>
              <a:gdLst>
                <a:gd name="T0" fmla="*/ 11 w 277"/>
                <a:gd name="T1" fmla="*/ 171 h 171"/>
                <a:gd name="T2" fmla="*/ 267 w 277"/>
                <a:gd name="T3" fmla="*/ 171 h 171"/>
                <a:gd name="T4" fmla="*/ 277 w 277"/>
                <a:gd name="T5" fmla="*/ 160 h 171"/>
                <a:gd name="T6" fmla="*/ 277 w 277"/>
                <a:gd name="T7" fmla="*/ 11 h 171"/>
                <a:gd name="T8" fmla="*/ 267 w 277"/>
                <a:gd name="T9" fmla="*/ 0 h 171"/>
                <a:gd name="T10" fmla="*/ 11 w 277"/>
                <a:gd name="T11" fmla="*/ 0 h 171"/>
                <a:gd name="T12" fmla="*/ 0 w 277"/>
                <a:gd name="T13" fmla="*/ 11 h 171"/>
                <a:gd name="T14" fmla="*/ 0 w 277"/>
                <a:gd name="T15" fmla="*/ 160 h 171"/>
                <a:gd name="T16" fmla="*/ 11 w 277"/>
                <a:gd name="T17" fmla="*/ 171 h 171"/>
                <a:gd name="T18" fmla="*/ 21 w 277"/>
                <a:gd name="T19" fmla="*/ 21 h 171"/>
                <a:gd name="T20" fmla="*/ 256 w 277"/>
                <a:gd name="T21" fmla="*/ 21 h 171"/>
                <a:gd name="T22" fmla="*/ 256 w 277"/>
                <a:gd name="T23" fmla="*/ 149 h 171"/>
                <a:gd name="T24" fmla="*/ 21 w 277"/>
                <a:gd name="T25" fmla="*/ 149 h 171"/>
                <a:gd name="T26" fmla="*/ 21 w 277"/>
                <a:gd name="T27" fmla="*/ 21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77" h="171">
                  <a:moveTo>
                    <a:pt x="11" y="171"/>
                  </a:moveTo>
                  <a:cubicBezTo>
                    <a:pt x="267" y="171"/>
                    <a:pt x="267" y="171"/>
                    <a:pt x="267" y="171"/>
                  </a:cubicBezTo>
                  <a:cubicBezTo>
                    <a:pt x="273" y="171"/>
                    <a:pt x="277" y="166"/>
                    <a:pt x="277" y="160"/>
                  </a:cubicBezTo>
                  <a:cubicBezTo>
                    <a:pt x="277" y="11"/>
                    <a:pt x="277" y="11"/>
                    <a:pt x="277" y="11"/>
                  </a:cubicBezTo>
                  <a:cubicBezTo>
                    <a:pt x="277" y="5"/>
                    <a:pt x="273" y="0"/>
                    <a:pt x="267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60"/>
                    <a:pt x="0" y="160"/>
                    <a:pt x="0" y="160"/>
                  </a:cubicBezTo>
                  <a:cubicBezTo>
                    <a:pt x="0" y="166"/>
                    <a:pt x="5" y="171"/>
                    <a:pt x="11" y="171"/>
                  </a:cubicBezTo>
                  <a:close/>
                  <a:moveTo>
                    <a:pt x="21" y="21"/>
                  </a:moveTo>
                  <a:cubicBezTo>
                    <a:pt x="256" y="21"/>
                    <a:pt x="256" y="21"/>
                    <a:pt x="256" y="21"/>
                  </a:cubicBezTo>
                  <a:cubicBezTo>
                    <a:pt x="256" y="149"/>
                    <a:pt x="256" y="149"/>
                    <a:pt x="256" y="149"/>
                  </a:cubicBezTo>
                  <a:cubicBezTo>
                    <a:pt x="21" y="149"/>
                    <a:pt x="21" y="149"/>
                    <a:pt x="21" y="149"/>
                  </a:cubicBezTo>
                  <a:lnTo>
                    <a:pt x="21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xmlns:mc="http://schemas.openxmlformats.org/markup-compatibility/2006" xmlns:p14="http://schemas.microsoft.com/office/powerpoint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319"/>
            </a:p>
          </p:txBody>
        </p:sp>
        <p:sp>
          <p:nvSpPr>
            <p:cNvPr id="37" name="Freeform 491">
              <a:extLst>
                <a:ext uri="{FF2B5EF4-FFF2-40B4-BE49-F238E27FC236}">
                  <a16:creationId xmlns:a16="http://schemas.microsoft.com/office/drawing/2014/main" id="{A9BF72F9-49BF-427B-B2B1-4A0129327971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4" y="2490"/>
              <a:ext cx="212" cy="14"/>
            </a:xfrm>
            <a:custGeom>
              <a:avLst/>
              <a:gdLst>
                <a:gd name="T0" fmla="*/ 309 w 320"/>
                <a:gd name="T1" fmla="*/ 0 h 21"/>
                <a:gd name="T2" fmla="*/ 10 w 320"/>
                <a:gd name="T3" fmla="*/ 0 h 21"/>
                <a:gd name="T4" fmla="*/ 0 w 320"/>
                <a:gd name="T5" fmla="*/ 11 h 21"/>
                <a:gd name="T6" fmla="*/ 10 w 320"/>
                <a:gd name="T7" fmla="*/ 21 h 21"/>
                <a:gd name="T8" fmla="*/ 309 w 320"/>
                <a:gd name="T9" fmla="*/ 21 h 21"/>
                <a:gd name="T10" fmla="*/ 320 w 320"/>
                <a:gd name="T11" fmla="*/ 11 h 21"/>
                <a:gd name="T12" fmla="*/ 309 w 320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0" h="21">
                  <a:moveTo>
                    <a:pt x="309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17"/>
                    <a:pt x="4" y="21"/>
                    <a:pt x="10" y="21"/>
                  </a:cubicBezTo>
                  <a:cubicBezTo>
                    <a:pt x="309" y="21"/>
                    <a:pt x="309" y="21"/>
                    <a:pt x="309" y="21"/>
                  </a:cubicBezTo>
                  <a:cubicBezTo>
                    <a:pt x="315" y="21"/>
                    <a:pt x="320" y="17"/>
                    <a:pt x="320" y="11"/>
                  </a:cubicBezTo>
                  <a:cubicBezTo>
                    <a:pt x="320" y="5"/>
                    <a:pt x="315" y="0"/>
                    <a:pt x="30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xmlns:mc="http://schemas.openxmlformats.org/markup-compatibility/2006" xmlns:p14="http://schemas.microsoft.com/office/powerpoint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319"/>
            </a:p>
          </p:txBody>
        </p:sp>
        <p:sp>
          <p:nvSpPr>
            <p:cNvPr id="38" name="Freeform 492">
              <a:extLst>
                <a:ext uri="{FF2B5EF4-FFF2-40B4-BE49-F238E27FC236}">
                  <a16:creationId xmlns:a16="http://schemas.microsoft.com/office/drawing/2014/main" id="{815D2295-FB09-4ABD-8766-07B5C87F5B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20" y="2264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xmlns:mc="http://schemas.openxmlformats.org/markup-compatibility/2006" xmlns:p14="http://schemas.microsoft.com/office/powerpoint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319"/>
            </a:p>
          </p:txBody>
        </p:sp>
      </p:grpSp>
    </p:spTree>
    <p:extLst>
      <p:ext uri="{BB962C8B-B14F-4D97-AF65-F5344CB8AC3E}">
        <p14:creationId xmlns:p14="http://schemas.microsoft.com/office/powerpoint/2010/main" val="332432132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CBA7CD-CB59-4B93-883D-65CBF05ED4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CBA7CD-CB59-4B93-883D-65CBF05ED4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97A77EE-7428-4BA9-B2B1-D73C5881D7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Agenda</a:t>
            </a:r>
          </a:p>
        </p:txBody>
      </p:sp>
      <p:graphicFrame>
        <p:nvGraphicFramePr>
          <p:cNvPr id="4" name="Table 6">
            <a:extLst>
              <a:ext uri="{FF2B5EF4-FFF2-40B4-BE49-F238E27FC236}">
                <a16:creationId xmlns:a16="http://schemas.microsoft.com/office/drawing/2014/main" id="{6BC5C563-D417-42F7-85F7-ECCA2B7AB6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52740743"/>
              </p:ext>
            </p:extLst>
          </p:nvPr>
        </p:nvGraphicFramePr>
        <p:xfrm>
          <a:off x="362626" y="1053530"/>
          <a:ext cx="8418747" cy="3648009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070910">
                  <a:extLst>
                    <a:ext uri="{9D8B030D-6E8A-4147-A177-3AD203B41FA5}">
                      <a16:colId xmlns:a16="http://schemas.microsoft.com/office/drawing/2014/main" val="1601383899"/>
                    </a:ext>
                  </a:extLst>
                </a:gridCol>
                <a:gridCol w="1347837">
                  <a:extLst>
                    <a:ext uri="{9D8B030D-6E8A-4147-A177-3AD203B41FA5}">
                      <a16:colId xmlns:a16="http://schemas.microsoft.com/office/drawing/2014/main" val="694349209"/>
                    </a:ext>
                  </a:extLst>
                </a:gridCol>
              </a:tblGrid>
              <a:tr h="357149">
                <a:tc>
                  <a:txBody>
                    <a:bodyPr/>
                    <a:lstStyle/>
                    <a:p>
                      <a:r>
                        <a:rPr lang="nb-NO" sz="1400" b="1">
                          <a:solidFill>
                            <a:schemeClr val="tx1"/>
                          </a:solidFill>
                        </a:rPr>
                        <a:t>Oppsummering av BOTT E-læring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>
                          <a:solidFill>
                            <a:schemeClr val="tx1"/>
                          </a:solidFill>
                        </a:rPr>
                        <a:t>15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7801232"/>
                  </a:ext>
                </a:extLst>
              </a:tr>
              <a:tr h="414523">
                <a:tc>
                  <a:txBody>
                    <a:bodyPr/>
                    <a:lstStyle/>
                    <a:p>
                      <a:r>
                        <a:rPr lang="nb-NO" sz="1400" b="1" i="0"/>
                        <a:t>Hovedforskjeller fra dagens løsning</a:t>
                      </a:r>
                      <a:endParaRPr lang="nb-NO" sz="1400" b="0" i="1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i="0"/>
                        <a:t>15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878283"/>
                  </a:ext>
                </a:extLst>
              </a:tr>
              <a:tr h="405269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nb-NO" sz="1400" b="1" i="0">
                          <a:solidFill>
                            <a:schemeClr val="bg1"/>
                          </a:solidFill>
                        </a:rPr>
                        <a:t>Om ny økonomimodell – hva betyr det for deg som fagrekvirent</a:t>
                      </a:r>
                    </a:p>
                  </a:txBody>
                  <a:tcPr>
                    <a:solidFill>
                      <a:srgbClr val="01469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i="0">
                          <a:solidFill>
                            <a:schemeClr val="bg1"/>
                          </a:solidFill>
                        </a:rPr>
                        <a:t>15 min</a:t>
                      </a:r>
                    </a:p>
                  </a:txBody>
                  <a:tcPr>
                    <a:solidFill>
                      <a:srgbClr val="0146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1896127"/>
                  </a:ext>
                </a:extLst>
              </a:tr>
              <a:tr h="416672">
                <a:tc>
                  <a:txBody>
                    <a:bodyPr/>
                    <a:lstStyle/>
                    <a:p>
                      <a:r>
                        <a:rPr lang="nb-NO" sz="1400" b="1" i="0"/>
                        <a:t>Mer om </a:t>
                      </a:r>
                      <a:r>
                        <a:rPr lang="nb-NO" sz="1400" b="1" i="0" err="1"/>
                        <a:t>mva</a:t>
                      </a:r>
                      <a:r>
                        <a:rPr lang="nb-NO" sz="1400" b="1" i="0"/>
                        <a:t> 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i="0"/>
                        <a:t>15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5042368"/>
                  </a:ext>
                </a:extLst>
              </a:tr>
              <a:tr h="416672">
                <a:tc>
                  <a:txBody>
                    <a:bodyPr/>
                    <a:lstStyle/>
                    <a:p>
                      <a:r>
                        <a:rPr lang="nb-NO" sz="1400" b="1" i="0"/>
                        <a:t>Nye begreper / Terminologi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i="0"/>
                        <a:t>  5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311385"/>
                  </a:ext>
                </a:extLst>
              </a:tr>
              <a:tr h="616555">
                <a:tc>
                  <a:txBody>
                    <a:bodyPr/>
                    <a:lstStyle/>
                    <a:p>
                      <a:r>
                        <a:rPr lang="nb-NO" sz="1400" b="1" i="0"/>
                        <a:t>Kort demo av Unit4 ERP – opprette innkjøpsforespørsel og utføre vare-/tjenestemottak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i="0"/>
                        <a:t>20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3655383"/>
                  </a:ext>
                </a:extLst>
              </a:tr>
              <a:tr h="523552">
                <a:tc>
                  <a:txBody>
                    <a:bodyPr/>
                    <a:lstStyle/>
                    <a:p>
                      <a:r>
                        <a:rPr lang="nb-NO" sz="1400" b="1" i="0"/>
                        <a:t>Hva skjer videre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i="0"/>
                        <a:t>  5 mi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32332376"/>
                  </a:ext>
                </a:extLst>
              </a:tr>
              <a:tr h="497617">
                <a:tc>
                  <a:txBody>
                    <a:bodyPr/>
                    <a:lstStyle/>
                    <a:p>
                      <a:r>
                        <a:rPr lang="nb-NO" sz="1400" b="1" i="0"/>
                        <a:t>Spørsmål og svar</a:t>
                      </a:r>
                      <a:endParaRPr lang="nb-NO" sz="1400" b="0" i="1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i="0"/>
                        <a:t>30 mi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990884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2600501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E79FBBCA-29A7-5D88-6A61-19A03A6A02C9}"/>
              </a:ext>
            </a:extLst>
          </p:cNvPr>
          <p:cNvSpPr txBox="1"/>
          <p:nvPr/>
        </p:nvSpPr>
        <p:spPr>
          <a:xfrm>
            <a:off x="1792288" y="3600449"/>
            <a:ext cx="5486400" cy="1083469"/>
          </a:xfrm>
          <a:prstGeom prst="rect">
            <a:avLst/>
          </a:prstGeom>
        </p:spPr>
        <p:txBody>
          <a:bodyPr rot="0" spcFirstLastPara="0" vertOverflow="overflow" horzOverflow="overflow" vert="horz" lIns="91440" tIns="45720" rIns="91440" bIns="45720" numCol="1" spcCol="0" rtlCol="0" fromWordArt="0" anchor="b" anchorCtr="0" forceAA="0" compatLnSpc="1">
            <a:prstTxWarp prst="textNoShape">
              <a:avLst/>
            </a:prstTxWarp>
            <a:norm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AGREKVIRENT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n kort innføring i BOTT økonomimodell</a:t>
            </a:r>
          </a:p>
        </p:txBody>
      </p:sp>
      <p:pic>
        <p:nvPicPr>
          <p:cNvPr id="4" name="Picture 4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F81C7C11-84CA-E93C-C2B0-71719A78D745}"/>
              </a:ext>
            </a:extLst>
          </p:cNvPr>
          <p:cNvPicPr>
            <a:picLocks noGrp="1" noChangeAspect="1"/>
          </p:cNvPicPr>
          <p:nvPr>
            <p:ph type="pic" idx="1"/>
          </p:nvPr>
        </p:nvPicPr>
        <p:blipFill rotWithShape="1">
          <a:blip r:embed="rId3"/>
          <a:stretch/>
        </p:blipFill>
        <p:spPr>
          <a:xfrm>
            <a:off x="2751616" y="459581"/>
            <a:ext cx="3567744" cy="3086100"/>
          </a:xfrm>
          <a:noFill/>
        </p:spPr>
      </p:pic>
      <p:sp>
        <p:nvSpPr>
          <p:cNvPr id="2" name="TekstSylinder 1">
            <a:extLst>
              <a:ext uri="{FF2B5EF4-FFF2-40B4-BE49-F238E27FC236}">
                <a16:creationId xmlns:a16="http://schemas.microsoft.com/office/drawing/2014/main" id="{D8DFF76C-374D-9E36-83DB-ED4A6158E7C9}"/>
              </a:ext>
            </a:extLst>
          </p:cNvPr>
          <p:cNvSpPr txBox="1"/>
          <p:nvPr/>
        </p:nvSpPr>
        <p:spPr>
          <a:xfrm>
            <a:off x="8121015" y="102870"/>
            <a:ext cx="84582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600" b="0" i="0" u="none" strike="noStrike" kern="1200" cap="none" spc="0" normalizeH="0" baseline="0" noProof="0">
                <a:ln>
                  <a:noFill/>
                </a:ln>
                <a:solidFill>
                  <a:srgbClr val="BBAC7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ppdatert </a:t>
            </a:r>
            <a:r>
              <a:rPr kumimoji="0" lang="nb-NO" sz="500" b="0" i="0" u="none" strike="noStrike" kern="1200" cap="none" spc="0" normalizeH="0" baseline="0" noProof="0">
                <a:ln>
                  <a:noFill/>
                </a:ln>
                <a:solidFill>
                  <a:srgbClr val="BBAC7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1.11.22</a:t>
            </a:r>
            <a:endParaRPr kumimoji="0" lang="nb-NO" sz="600" b="0" i="0" u="none" strike="noStrike" kern="1200" cap="none" spc="0" normalizeH="0" baseline="0" noProof="0">
              <a:ln>
                <a:noFill/>
              </a:ln>
              <a:solidFill>
                <a:srgbClr val="BBAC7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0835706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tel 4">
            <a:extLst>
              <a:ext uri="{FF2B5EF4-FFF2-40B4-BE49-F238E27FC236}">
                <a16:creationId xmlns:a16="http://schemas.microsoft.com/office/drawing/2014/main" id="{862FAAF3-5850-878C-367C-ECDBDFC328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>
            <a:normAutofit/>
          </a:bodyPr>
          <a:lstStyle/>
          <a:p>
            <a:r>
              <a:rPr lang="nb-NO"/>
              <a:t>Læringsmål</a:t>
            </a:r>
          </a:p>
        </p:txBody>
      </p:sp>
      <p:pic>
        <p:nvPicPr>
          <p:cNvPr id="2" name="Picture 4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6A561092-7C7D-A73B-001E-CAD78AF5C62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tretch/>
        </p:blipFill>
        <p:spPr>
          <a:xfrm>
            <a:off x="3454553" y="204792"/>
            <a:ext cx="5074952" cy="4389835"/>
          </a:xfrm>
          <a:prstGeom prst="rect">
            <a:avLst/>
          </a:prstGeom>
          <a:noFill/>
        </p:spPr>
      </p:pic>
      <p:sp>
        <p:nvSpPr>
          <p:cNvPr id="6" name="Plassholder for innhold 5">
            <a:extLst>
              <a:ext uri="{FF2B5EF4-FFF2-40B4-BE49-F238E27FC236}">
                <a16:creationId xmlns:a16="http://schemas.microsoft.com/office/drawing/2014/main" id="{18C24BE2-694B-B649-8BE1-6E9AE279414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57201" y="1076327"/>
            <a:ext cx="3008313" cy="1389082"/>
          </a:xfrm>
        </p:spPr>
        <p:txBody>
          <a:bodyPr>
            <a:normAutofit/>
          </a:bodyPr>
          <a:lstStyle/>
          <a:p>
            <a:r>
              <a:rPr lang="nb-NO" sz="1600"/>
              <a:t>Ha oversikt over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/>
              <a:t>Ny konteringsstre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/>
              <a:t>Hvilke konteringsfelt du skal bruke</a:t>
            </a:r>
          </a:p>
        </p:txBody>
      </p:sp>
      <p:sp>
        <p:nvSpPr>
          <p:cNvPr id="3" name="Pil: høyre 2">
            <a:extLst>
              <a:ext uri="{FF2B5EF4-FFF2-40B4-BE49-F238E27FC236}">
                <a16:creationId xmlns:a16="http://schemas.microsoft.com/office/drawing/2014/main" id="{1972E8BB-3B09-21A7-FBBF-345C1D774899}"/>
              </a:ext>
            </a:extLst>
          </p:cNvPr>
          <p:cNvSpPr/>
          <p:nvPr/>
        </p:nvSpPr>
        <p:spPr>
          <a:xfrm>
            <a:off x="1380565" y="2835474"/>
            <a:ext cx="2084949" cy="427679"/>
          </a:xfrm>
          <a:prstGeom prst="rightArrow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5872141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316627"/>
            <a:ext cx="8499348" cy="648512"/>
          </a:xfrm>
        </p:spPr>
        <p:txBody>
          <a:bodyPr>
            <a:noAutofit/>
          </a:bodyPr>
          <a:lstStyle/>
          <a:p>
            <a:r>
              <a:rPr lang="nb-NO" sz="2400"/>
              <a:t>Endringer sammenlignet med dagens økonomimodel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57200" y="965140"/>
            <a:ext cx="8229600" cy="4118924"/>
          </a:xfrm>
        </p:spPr>
        <p:txBody>
          <a:bodyPr>
            <a:normAutofit fontScale="70000" lnSpcReduction="20000"/>
          </a:bodyPr>
          <a:lstStyle/>
          <a:p>
            <a:pPr marL="0" indent="0">
              <a:buNone/>
            </a:pPr>
            <a:r>
              <a:rPr lang="nb-NO" sz="3400" u="sng"/>
              <a:t>Ny konteringsstreng</a:t>
            </a:r>
          </a:p>
          <a:p>
            <a:endParaRPr lang="nb-NO"/>
          </a:p>
          <a:p>
            <a:r>
              <a:rPr lang="nb-NO"/>
              <a:t>Ny felles BOTT kontoplan</a:t>
            </a:r>
          </a:p>
          <a:p>
            <a:pPr lvl="1"/>
            <a:r>
              <a:rPr lang="nb-NO"/>
              <a:t>Felles firesifret kontoplan</a:t>
            </a:r>
          </a:p>
          <a:p>
            <a:r>
              <a:rPr lang="nb-NO"/>
              <a:t>Ny koststedstruktur</a:t>
            </a:r>
          </a:p>
          <a:p>
            <a:pPr lvl="1"/>
            <a:r>
              <a:rPr lang="nb-NO"/>
              <a:t>Åtte sifre</a:t>
            </a:r>
          </a:p>
          <a:p>
            <a:r>
              <a:rPr lang="nb-NO"/>
              <a:t>Nytt prosjekthierarki</a:t>
            </a:r>
          </a:p>
          <a:p>
            <a:pPr lvl="1"/>
            <a:r>
              <a:rPr lang="nb-NO"/>
              <a:t>Hovedprosjekt-prosjekt-delprosjekt</a:t>
            </a:r>
          </a:p>
          <a:p>
            <a:pPr lvl="1"/>
            <a:r>
              <a:rPr lang="nb-NO"/>
              <a:t>Gjelder både BOA- og interne prosjekter</a:t>
            </a:r>
          </a:p>
          <a:p>
            <a:pPr lvl="1"/>
            <a:r>
              <a:rPr lang="nb-NO"/>
              <a:t>Nye nummer</a:t>
            </a:r>
          </a:p>
          <a:p>
            <a:r>
              <a:rPr lang="nb-NO"/>
              <a:t>Anleggsnummer på alle anleggskonteringer</a:t>
            </a:r>
          </a:p>
          <a:p>
            <a:r>
              <a:rPr lang="nb-NO"/>
              <a:t>Ansattnummer på alle lønnskonteringer</a:t>
            </a:r>
          </a:p>
          <a:p>
            <a:r>
              <a:rPr lang="nb-NO"/>
              <a:t>Byggnummer på alle </a:t>
            </a:r>
            <a:r>
              <a:rPr lang="nb-NO" err="1"/>
              <a:t>byggposteringer</a:t>
            </a:r>
            <a:endParaRPr lang="nb-NO"/>
          </a:p>
          <a:p>
            <a:r>
              <a:rPr lang="nb-NO"/>
              <a:t>Arbeidspakkenummer på alle BOA-prosjekter med arbeidspakker</a:t>
            </a:r>
          </a:p>
          <a:p>
            <a:r>
              <a:rPr lang="nb-NO"/>
              <a:t>Nåværende analysefelt utgår</a:t>
            </a:r>
          </a:p>
          <a:p>
            <a:pPr lvl="1"/>
            <a:r>
              <a:rPr lang="nb-NO"/>
              <a:t>Erstattes med hovedprosjekt-prosjekt-delprosjekt</a:t>
            </a:r>
          </a:p>
        </p:txBody>
      </p:sp>
      <p:pic>
        <p:nvPicPr>
          <p:cNvPr id="6" name="Bilde 5" descr="Et bilde som inneholder skjermbilde&#10;&#10;Automatisk generert beskrivelse"/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13" t="5970" r="1682" b="8183"/>
          <a:stretch/>
        </p:blipFill>
        <p:spPr>
          <a:xfrm>
            <a:off x="3621024" y="978855"/>
            <a:ext cx="4727448" cy="4796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981018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onteringsstrengen</a:t>
            </a:r>
          </a:p>
        </p:txBody>
      </p:sp>
      <p:sp>
        <p:nvSpPr>
          <p:cNvPr id="7" name="Content Placeholder 2"/>
          <p:cNvSpPr txBox="1">
            <a:spLocks/>
          </p:cNvSpPr>
          <p:nvPr/>
        </p:nvSpPr>
        <p:spPr>
          <a:xfrm>
            <a:off x="759525" y="825729"/>
            <a:ext cx="7927276" cy="3191779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nb-NO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agens konteringsstreng ved NTNU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kumimoji="0" lang="nb-NO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kumimoji="0" lang="nb-NO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nb-NO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y konteringsstreng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kumimoji="0" lang="nb-NO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kumimoji="0" lang="nb-NO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nb-NO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ytt konteringsnivå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kumimoji="0" lang="nb-NO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kumimoji="0" lang="nb-NO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kumimoji="0" lang="nb-NO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kumimoji="0" lang="nb-NO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28" name="Rectangle 3"/>
          <p:cNvSpPr/>
          <p:nvPr/>
        </p:nvSpPr>
        <p:spPr>
          <a:xfrm>
            <a:off x="958437" y="1276996"/>
            <a:ext cx="1110343" cy="581891"/>
          </a:xfrm>
          <a:prstGeom prst="rect">
            <a:avLst/>
          </a:prstGeom>
          <a:solidFill>
            <a:srgbClr val="4472C4">
              <a:lumMod val="75000"/>
            </a:srgbClr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0" cap="none" spc="0" normalizeH="0" baseline="0" noProof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Art (konto)</a:t>
            </a:r>
          </a:p>
        </p:txBody>
      </p:sp>
      <p:sp>
        <p:nvSpPr>
          <p:cNvPr id="29" name="Rectangle 4"/>
          <p:cNvSpPr/>
          <p:nvPr/>
        </p:nvSpPr>
        <p:spPr>
          <a:xfrm>
            <a:off x="2267692" y="1276670"/>
            <a:ext cx="1110343" cy="581891"/>
          </a:xfrm>
          <a:prstGeom prst="rect">
            <a:avLst/>
          </a:prstGeom>
          <a:solidFill>
            <a:srgbClr val="4472C4">
              <a:lumMod val="75000"/>
            </a:srgbClr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0" cap="none" spc="0" normalizeH="0" baseline="0" noProof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Koststed</a:t>
            </a:r>
          </a:p>
        </p:txBody>
      </p:sp>
      <p:sp>
        <p:nvSpPr>
          <p:cNvPr id="30" name="Rectangle 5"/>
          <p:cNvSpPr/>
          <p:nvPr/>
        </p:nvSpPr>
        <p:spPr>
          <a:xfrm>
            <a:off x="3671206" y="1276669"/>
            <a:ext cx="1110343" cy="581891"/>
          </a:xfrm>
          <a:prstGeom prst="rect">
            <a:avLst/>
          </a:prstGeom>
          <a:solidFill>
            <a:srgbClr val="4472C4">
              <a:lumMod val="75000"/>
            </a:srgbClr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0" cap="none" spc="0" normalizeH="0" baseline="0" noProof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Prosjekt</a:t>
            </a:r>
          </a:p>
        </p:txBody>
      </p:sp>
      <p:sp>
        <p:nvSpPr>
          <p:cNvPr id="31" name="Rectangle 6"/>
          <p:cNvSpPr/>
          <p:nvPr/>
        </p:nvSpPr>
        <p:spPr>
          <a:xfrm>
            <a:off x="5053940" y="1276996"/>
            <a:ext cx="1110343" cy="581891"/>
          </a:xfrm>
          <a:prstGeom prst="rect">
            <a:avLst/>
          </a:prstGeom>
          <a:solidFill>
            <a:srgbClr val="4472C4">
              <a:lumMod val="75000"/>
            </a:srgbClr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0" cap="none" spc="0" normalizeH="0" baseline="0" noProof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Analyse</a:t>
            </a:r>
          </a:p>
        </p:txBody>
      </p:sp>
      <p:sp>
        <p:nvSpPr>
          <p:cNvPr id="33" name="Rectangle 13"/>
          <p:cNvSpPr/>
          <p:nvPr/>
        </p:nvSpPr>
        <p:spPr>
          <a:xfrm>
            <a:off x="958436" y="2618042"/>
            <a:ext cx="1110343" cy="581891"/>
          </a:xfrm>
          <a:prstGeom prst="rect">
            <a:avLst/>
          </a:prstGeom>
          <a:solidFill>
            <a:srgbClr val="4472C4">
              <a:lumMod val="75000"/>
            </a:srgbClr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0" cap="none" spc="0" normalizeH="0" baseline="0" noProof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Konto</a:t>
            </a:r>
          </a:p>
        </p:txBody>
      </p:sp>
      <p:sp>
        <p:nvSpPr>
          <p:cNvPr id="34" name="Rectangle 17"/>
          <p:cNvSpPr/>
          <p:nvPr/>
        </p:nvSpPr>
        <p:spPr>
          <a:xfrm>
            <a:off x="2267690" y="2618041"/>
            <a:ext cx="1110343" cy="581891"/>
          </a:xfrm>
          <a:prstGeom prst="rect">
            <a:avLst/>
          </a:prstGeom>
          <a:solidFill>
            <a:srgbClr val="4472C4">
              <a:lumMod val="75000"/>
            </a:srgbClr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0" cap="none" spc="0" normalizeH="0" baseline="0" noProof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Koststed</a:t>
            </a:r>
          </a:p>
        </p:txBody>
      </p:sp>
      <p:sp>
        <p:nvSpPr>
          <p:cNvPr id="35" name="Rectangle 18"/>
          <p:cNvSpPr/>
          <p:nvPr/>
        </p:nvSpPr>
        <p:spPr>
          <a:xfrm>
            <a:off x="3671205" y="2618041"/>
            <a:ext cx="1110343" cy="581891"/>
          </a:xfrm>
          <a:prstGeom prst="rect">
            <a:avLst/>
          </a:prstGeom>
          <a:gradFill>
            <a:gsLst>
              <a:gs pos="0">
                <a:srgbClr val="4472C4">
                  <a:lumMod val="75000"/>
                </a:srgbClr>
              </a:gs>
              <a:gs pos="92000">
                <a:srgbClr val="5B9BD5">
                  <a:lumMod val="45000"/>
                  <a:lumOff val="55000"/>
                </a:srgbClr>
              </a:gs>
              <a:gs pos="100000">
                <a:srgbClr val="5B9BD5">
                  <a:lumMod val="45000"/>
                  <a:lumOff val="55000"/>
                </a:srgbClr>
              </a:gs>
              <a:gs pos="100000">
                <a:srgbClr val="5B9BD5">
                  <a:lumMod val="30000"/>
                  <a:lumOff val="70000"/>
                </a:srgbClr>
              </a:gs>
            </a:gsLst>
            <a:lin ang="5400000" scaled="1"/>
          </a:gra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0" cap="none" spc="0" normalizeH="0" baseline="0" noProof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Prosjekt</a:t>
            </a:r>
          </a:p>
        </p:txBody>
      </p:sp>
      <p:sp>
        <p:nvSpPr>
          <p:cNvPr id="36" name="Rectangle 19"/>
          <p:cNvSpPr/>
          <p:nvPr/>
        </p:nvSpPr>
        <p:spPr>
          <a:xfrm>
            <a:off x="5047732" y="2607109"/>
            <a:ext cx="1110343" cy="581891"/>
          </a:xfrm>
          <a:prstGeom prst="rect">
            <a:avLst/>
          </a:prstGeom>
          <a:solidFill>
            <a:srgbClr val="4472C4">
              <a:lumMod val="75000"/>
            </a:srgbClr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0" cap="none" spc="0" normalizeH="0" baseline="0" noProof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Delprosjekt</a:t>
            </a:r>
          </a:p>
        </p:txBody>
      </p:sp>
      <p:sp>
        <p:nvSpPr>
          <p:cNvPr id="37" name="Rectangle 20"/>
          <p:cNvSpPr/>
          <p:nvPr/>
        </p:nvSpPr>
        <p:spPr>
          <a:xfrm>
            <a:off x="6356986" y="2607108"/>
            <a:ext cx="1110343" cy="581891"/>
          </a:xfrm>
          <a:prstGeom prst="rect">
            <a:avLst/>
          </a:prstGeom>
          <a:gradFill>
            <a:gsLst>
              <a:gs pos="0">
                <a:srgbClr val="4472C4">
                  <a:lumMod val="75000"/>
                </a:srgbClr>
              </a:gs>
              <a:gs pos="92000">
                <a:srgbClr val="5B9BD5">
                  <a:lumMod val="45000"/>
                  <a:lumOff val="55000"/>
                </a:srgbClr>
              </a:gs>
              <a:gs pos="100000">
                <a:srgbClr val="5B9BD5">
                  <a:lumMod val="45000"/>
                  <a:lumOff val="55000"/>
                </a:srgbClr>
              </a:gs>
              <a:gs pos="100000">
                <a:srgbClr val="5B9BD5">
                  <a:lumMod val="30000"/>
                  <a:lumOff val="70000"/>
                </a:srgbClr>
              </a:gs>
            </a:gsLst>
            <a:lin ang="5400000" scaled="1"/>
          </a:gra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0" cap="none" spc="0" normalizeH="0" baseline="0" noProof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Anlegg/ </a:t>
            </a:r>
            <a:r>
              <a:rPr kumimoji="0" lang="nb-NO" sz="1800" b="0" i="0" u="none" strike="noStrike" kern="0" cap="none" spc="0" normalizeH="0" baseline="0" noProof="0" err="1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ansattnr</a:t>
            </a:r>
            <a:endParaRPr kumimoji="0" lang="nb-NO" sz="1800" b="0" i="0" u="none" strike="noStrike" kern="0" cap="none" spc="0" normalizeH="0" baseline="0" noProof="0">
              <a:ln w="0"/>
              <a:solidFill>
                <a:prstClr val="white"/>
              </a:solidFill>
              <a:effectLst>
                <a:outerShdw blurRad="38100" dist="19050" dir="2700000" algn="t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Rectangle 21"/>
          <p:cNvSpPr/>
          <p:nvPr/>
        </p:nvSpPr>
        <p:spPr>
          <a:xfrm>
            <a:off x="7723044" y="2607109"/>
            <a:ext cx="1110343" cy="581891"/>
          </a:xfrm>
          <a:prstGeom prst="rect">
            <a:avLst/>
          </a:prstGeom>
          <a:gradFill>
            <a:gsLst>
              <a:gs pos="0">
                <a:srgbClr val="4472C4">
                  <a:lumMod val="75000"/>
                </a:srgbClr>
              </a:gs>
              <a:gs pos="92000">
                <a:srgbClr val="5B9BD5">
                  <a:lumMod val="45000"/>
                  <a:lumOff val="55000"/>
                </a:srgbClr>
              </a:gs>
              <a:gs pos="100000">
                <a:srgbClr val="5B9BD5">
                  <a:lumMod val="45000"/>
                  <a:lumOff val="55000"/>
                </a:srgbClr>
              </a:gs>
              <a:gs pos="100000">
                <a:srgbClr val="5B9BD5">
                  <a:lumMod val="30000"/>
                  <a:lumOff val="70000"/>
                </a:srgbClr>
              </a:gs>
            </a:gsLst>
            <a:lin ang="5400000" scaled="1"/>
          </a:gra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0" cap="none" spc="0" normalizeH="0" baseline="0" noProof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Bygg/ arbeids-pakke</a:t>
            </a:r>
          </a:p>
        </p:txBody>
      </p:sp>
      <p:cxnSp>
        <p:nvCxnSpPr>
          <p:cNvPr id="39" name="Straight Connector 10"/>
          <p:cNvCxnSpPr>
            <a:stCxn id="36" idx="2"/>
          </p:cNvCxnSpPr>
          <p:nvPr/>
        </p:nvCxnSpPr>
        <p:spPr>
          <a:xfrm flipH="1">
            <a:off x="5602903" y="3189000"/>
            <a:ext cx="1" cy="286999"/>
          </a:xfrm>
          <a:prstGeom prst="line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40" name="Straight Connector 25"/>
          <p:cNvCxnSpPr/>
          <p:nvPr/>
        </p:nvCxnSpPr>
        <p:spPr>
          <a:xfrm flipH="1">
            <a:off x="4226377" y="3475999"/>
            <a:ext cx="1376527" cy="10932"/>
          </a:xfrm>
          <a:prstGeom prst="line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41" name="Straight Arrow Connector 27"/>
          <p:cNvCxnSpPr>
            <a:endCxn id="35" idx="2"/>
          </p:cNvCxnSpPr>
          <p:nvPr/>
        </p:nvCxnSpPr>
        <p:spPr>
          <a:xfrm flipV="1">
            <a:off x="4226376" y="3199932"/>
            <a:ext cx="1" cy="286999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42" name="TextBox 28"/>
          <p:cNvSpPr txBox="1"/>
          <p:nvPr/>
        </p:nvSpPr>
        <p:spPr>
          <a:xfrm>
            <a:off x="4488849" y="3427682"/>
            <a:ext cx="96289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tledes</a:t>
            </a:r>
          </a:p>
        </p:txBody>
      </p:sp>
      <p:sp>
        <p:nvSpPr>
          <p:cNvPr id="43" name="Rectangle 23"/>
          <p:cNvSpPr/>
          <p:nvPr/>
        </p:nvSpPr>
        <p:spPr>
          <a:xfrm>
            <a:off x="958435" y="3921654"/>
            <a:ext cx="1110343" cy="581891"/>
          </a:xfrm>
          <a:prstGeom prst="rect">
            <a:avLst/>
          </a:prstGeom>
          <a:solidFill>
            <a:srgbClr val="4472C4">
              <a:lumMod val="75000"/>
            </a:srgbClr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0" cap="none" spc="0" normalizeH="0" baseline="0" noProof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Konto</a:t>
            </a:r>
          </a:p>
        </p:txBody>
      </p:sp>
      <p:sp>
        <p:nvSpPr>
          <p:cNvPr id="44" name="Rectangle 24"/>
          <p:cNvSpPr/>
          <p:nvPr/>
        </p:nvSpPr>
        <p:spPr>
          <a:xfrm>
            <a:off x="2267688" y="3927166"/>
            <a:ext cx="1110343" cy="581891"/>
          </a:xfrm>
          <a:prstGeom prst="rect">
            <a:avLst/>
          </a:prstGeom>
          <a:solidFill>
            <a:srgbClr val="4472C4">
              <a:lumMod val="75000"/>
            </a:srgbClr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0" cap="none" spc="0" normalizeH="0" baseline="0" noProof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Koststed</a:t>
            </a:r>
          </a:p>
        </p:txBody>
      </p:sp>
      <p:sp>
        <p:nvSpPr>
          <p:cNvPr id="45" name="Rectangle 26"/>
          <p:cNvSpPr/>
          <p:nvPr/>
        </p:nvSpPr>
        <p:spPr>
          <a:xfrm>
            <a:off x="5047731" y="3926267"/>
            <a:ext cx="1110343" cy="581891"/>
          </a:xfrm>
          <a:prstGeom prst="rect">
            <a:avLst/>
          </a:prstGeom>
          <a:solidFill>
            <a:srgbClr val="4472C4">
              <a:lumMod val="75000"/>
            </a:srgbClr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0" cap="none" spc="0" normalizeH="0" baseline="0" noProof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Delprosjekt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2EE5687-6C02-66AE-4278-09FEA7D19348}"/>
              </a:ext>
            </a:extLst>
          </p:cNvPr>
          <p:cNvSpPr txBox="1"/>
          <p:nvPr/>
        </p:nvSpPr>
        <p:spPr>
          <a:xfrm>
            <a:off x="6356984" y="3509438"/>
            <a:ext cx="2780041" cy="1428083"/>
          </a:xfrm>
          <a:prstGeom prst="rect">
            <a:avLst/>
          </a:prstGeom>
          <a:noFill/>
          <a:ln>
            <a:solidFill>
              <a:srgbClr val="BBAC76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Viktig: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iktig valg av verdier ved kontering vil være avgjørende for å oppnå god kvalitet på informasjonen i regnskapet og for økonomistyringen.</a:t>
            </a:r>
          </a:p>
        </p:txBody>
      </p:sp>
      <p:sp>
        <p:nvSpPr>
          <p:cNvPr id="3" name="Rektangel 2">
            <a:extLst>
              <a:ext uri="{FF2B5EF4-FFF2-40B4-BE49-F238E27FC236}">
                <a16:creationId xmlns:a16="http://schemas.microsoft.com/office/drawing/2014/main" id="{9849FD13-76D7-D80A-4F2A-020152A6A0D0}"/>
              </a:ext>
            </a:extLst>
          </p:cNvPr>
          <p:cNvSpPr/>
          <p:nvPr/>
        </p:nvSpPr>
        <p:spPr>
          <a:xfrm>
            <a:off x="755418" y="3528200"/>
            <a:ext cx="5518429" cy="1387456"/>
          </a:xfrm>
          <a:prstGeom prst="rect">
            <a:avLst/>
          </a:prstGeom>
          <a:noFill/>
          <a:ln w="28575" cap="flat" cmpd="sng" algn="ctr">
            <a:solidFill>
              <a:srgbClr val="BBAC76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BCD024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89108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E3D4E25D-8F15-4BE1-A686-B348750C01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646331"/>
          </a:xfrm>
        </p:spPr>
        <p:txBody>
          <a:bodyPr/>
          <a:lstStyle/>
          <a:p>
            <a:r>
              <a:rPr lang="nb-NO"/>
              <a:t>Kontering konto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BCAD76AE-D5D1-42AD-90C4-F25381002F25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>
            <a:normAutofit fontScale="62500" lnSpcReduction="20000"/>
          </a:bodyPr>
          <a:lstStyle/>
          <a:p>
            <a:pPr marL="0" indent="0">
              <a:buNone/>
            </a:pPr>
            <a:endParaRPr lang="nb-NO"/>
          </a:p>
          <a:p>
            <a:pPr marL="0" indent="0">
              <a:buNone/>
            </a:pPr>
            <a:endParaRPr lang="nb-NO"/>
          </a:p>
          <a:p>
            <a:pPr marL="0" indent="0">
              <a:buNone/>
            </a:pPr>
            <a:endParaRPr lang="nb-NO" sz="1800"/>
          </a:p>
          <a:p>
            <a:pPr marL="0" indent="0">
              <a:buNone/>
            </a:pPr>
            <a:endParaRPr lang="nb-NO"/>
          </a:p>
        </p:txBody>
      </p:sp>
      <p:sp>
        <p:nvSpPr>
          <p:cNvPr id="8" name="Plassholder for innhold 7">
            <a:extLst>
              <a:ext uri="{FF2B5EF4-FFF2-40B4-BE49-F238E27FC236}">
                <a16:creationId xmlns:a16="http://schemas.microsoft.com/office/drawing/2014/main" id="{5E5B5650-8011-4149-8879-ECAD049C5CE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75734" y="1627871"/>
            <a:ext cx="8147705" cy="3241785"/>
          </a:xfrm>
        </p:spPr>
        <p:txBody>
          <a:bodyPr>
            <a:normAutofit fontScale="62500" lnSpcReduction="20000"/>
          </a:bodyPr>
          <a:lstStyle/>
          <a:p>
            <a:pPr marL="0" indent="0">
              <a:buNone/>
            </a:pPr>
            <a:r>
              <a:rPr lang="nb-NO"/>
              <a:t>Deler opp regnskapet og organiserer inntekter, kostnader, eiendeler og gjeld på en slik måte at de gir oversikt over virksomhetens økonomiske situasjon</a:t>
            </a:r>
          </a:p>
          <a:p>
            <a:endParaRPr lang="nb-NO" b="1"/>
          </a:p>
          <a:p>
            <a:r>
              <a:rPr lang="nb-NO" b="1"/>
              <a:t>Obligatorisk for alle transaksjoner, MÅ fylles ut</a:t>
            </a:r>
          </a:p>
          <a:p>
            <a:r>
              <a:rPr lang="nb-NO"/>
              <a:t>Består av 4 siffer</a:t>
            </a:r>
          </a:p>
          <a:p>
            <a:r>
              <a:rPr lang="nb-NO" err="1"/>
              <a:t>Standarisert</a:t>
            </a:r>
            <a:r>
              <a:rPr lang="nb-NO"/>
              <a:t> for BOTT (NY kontoplan)</a:t>
            </a:r>
          </a:p>
          <a:p>
            <a:r>
              <a:rPr lang="nb-NO"/>
              <a:t>Utarbeidet kontoplan med beskrivelser</a:t>
            </a:r>
          </a:p>
          <a:p>
            <a:r>
              <a:rPr lang="nb-NO"/>
              <a:t>Følger standard statlig kontoplan</a:t>
            </a:r>
          </a:p>
          <a:p>
            <a:endParaRPr lang="nb-NO"/>
          </a:p>
          <a:p>
            <a:pPr marL="0" indent="0">
              <a:buNone/>
            </a:pPr>
            <a:r>
              <a:rPr lang="nb-NO" b="0" i="0" u="sng">
                <a:solidFill>
                  <a:srgbClr val="2D3B45"/>
                </a:solidFill>
                <a:effectLst/>
                <a:latin typeface="Lato Extended"/>
                <a:hlinkClick r:id="rId3"/>
              </a:rPr>
              <a:t>Lenke til kontoplan med beskrivelse (</a:t>
            </a:r>
            <a:r>
              <a:rPr lang="nb-NO" b="0" i="0" u="sng" err="1">
                <a:solidFill>
                  <a:srgbClr val="2D3B45"/>
                </a:solidFill>
                <a:effectLst/>
                <a:latin typeface="Lato Extended"/>
                <a:hlinkClick r:id="rId3"/>
              </a:rPr>
              <a:t>pdf</a:t>
            </a:r>
            <a:r>
              <a:rPr lang="nb-NO" b="0" i="0" u="sng">
                <a:solidFill>
                  <a:srgbClr val="2D3B45"/>
                </a:solidFill>
                <a:effectLst/>
                <a:latin typeface="Lato Extended"/>
                <a:hlinkClick r:id="rId3"/>
              </a:rPr>
              <a:t>) (Lenker til en ekstern side.)</a:t>
            </a:r>
            <a:endParaRPr lang="nb-NO" b="0" i="0">
              <a:solidFill>
                <a:srgbClr val="2D3B45"/>
              </a:solidFill>
              <a:effectLst/>
              <a:latin typeface="Lato Extended"/>
            </a:endParaRPr>
          </a:p>
          <a:p>
            <a:pPr marL="0" indent="0">
              <a:buNone/>
            </a:pPr>
            <a:r>
              <a:rPr lang="nb-NO" b="0" i="0" u="sng">
                <a:solidFill>
                  <a:srgbClr val="2D3B45"/>
                </a:solidFill>
                <a:effectLst/>
                <a:latin typeface="Lato Extended"/>
                <a:hlinkClick r:id="rId4"/>
              </a:rPr>
              <a:t>Lenke til Håndbok 9-konti (tillegg til BOTT kontoplan) (</a:t>
            </a:r>
            <a:r>
              <a:rPr lang="nb-NO" b="0" i="0" u="sng" err="1">
                <a:solidFill>
                  <a:srgbClr val="2D3B45"/>
                </a:solidFill>
                <a:effectLst/>
                <a:latin typeface="Lato Extended"/>
                <a:hlinkClick r:id="rId4"/>
              </a:rPr>
              <a:t>pdf</a:t>
            </a:r>
            <a:r>
              <a:rPr lang="nb-NO" b="0" i="0" u="sng">
                <a:solidFill>
                  <a:srgbClr val="2D3B45"/>
                </a:solidFill>
                <a:effectLst/>
                <a:latin typeface="Lato Extended"/>
                <a:hlinkClick r:id="rId4"/>
              </a:rPr>
              <a:t>)</a:t>
            </a:r>
            <a:endParaRPr lang="nb-NO" b="0" i="0">
              <a:solidFill>
                <a:srgbClr val="2D3B45"/>
              </a:solidFill>
              <a:effectLst/>
              <a:latin typeface="Lato Extended"/>
            </a:endParaRP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85F2E330-1821-4C81-8A21-23F241F9160A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177"/>
          <a:stretch/>
        </p:blipFill>
        <p:spPr>
          <a:xfrm>
            <a:off x="532328" y="904975"/>
            <a:ext cx="6064079" cy="722897"/>
          </a:xfrm>
          <a:prstGeom prst="rect">
            <a:avLst/>
          </a:prstGeom>
        </p:spPr>
      </p:pic>
      <p:sp>
        <p:nvSpPr>
          <p:cNvPr id="4" name="TekstSylinder 3">
            <a:extLst>
              <a:ext uri="{FF2B5EF4-FFF2-40B4-BE49-F238E27FC236}">
                <a16:creationId xmlns:a16="http://schemas.microsoft.com/office/drawing/2014/main" id="{172B2349-B931-C9C1-9B7A-920F9B766AA5}"/>
              </a:ext>
            </a:extLst>
          </p:cNvPr>
          <p:cNvSpPr txBox="1"/>
          <p:nvPr/>
        </p:nvSpPr>
        <p:spPr>
          <a:xfrm>
            <a:off x="6238240" y="2244128"/>
            <a:ext cx="2834640" cy="1477328"/>
          </a:xfrm>
          <a:prstGeom prst="rect">
            <a:avLst/>
          </a:prstGeom>
          <a:noFill/>
          <a:ln w="28575">
            <a:solidFill>
              <a:srgbClr val="BBAC76"/>
            </a:solidFill>
          </a:ln>
        </p:spPr>
        <p:txBody>
          <a:bodyPr wrap="square" rtlCol="0">
            <a:spAutoFit/>
          </a:bodyPr>
          <a:lstStyle/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å i feltet konto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u kan søke på tall eller tekst for å få opp kontonummer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ks.: Søk på 658</a:t>
            </a:r>
          </a:p>
        </p:txBody>
      </p:sp>
      <p:pic>
        <p:nvPicPr>
          <p:cNvPr id="6" name="Bilde 5">
            <a:extLst>
              <a:ext uri="{FF2B5EF4-FFF2-40B4-BE49-F238E27FC236}">
                <a16:creationId xmlns:a16="http://schemas.microsoft.com/office/drawing/2014/main" id="{A52303EB-0372-CA84-FE8D-9B00BD26F04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3766721"/>
            <a:ext cx="9144000" cy="13039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11923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F469DD2D-EA7A-4E6B-BA9C-2117028801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646331"/>
          </a:xfrm>
        </p:spPr>
        <p:txBody>
          <a:bodyPr/>
          <a:lstStyle/>
          <a:p>
            <a:r>
              <a:rPr lang="nb-NO"/>
              <a:t>Kontering koststed</a:t>
            </a:r>
          </a:p>
        </p:txBody>
      </p:sp>
      <p:sp>
        <p:nvSpPr>
          <p:cNvPr id="14" name="Plassholder for innhold 13">
            <a:extLst>
              <a:ext uri="{FF2B5EF4-FFF2-40B4-BE49-F238E27FC236}">
                <a16:creationId xmlns:a16="http://schemas.microsoft.com/office/drawing/2014/main" id="{062E7CC8-1AFC-419B-876B-BB1B938EF725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>
            <a:normAutofit fontScale="77500" lnSpcReduction="20000"/>
          </a:bodyPr>
          <a:lstStyle/>
          <a:p>
            <a:endParaRPr lang="nb-NO"/>
          </a:p>
          <a:p>
            <a:endParaRPr lang="nb-NO"/>
          </a:p>
          <a:p>
            <a:endParaRPr lang="nb-NO"/>
          </a:p>
          <a:p>
            <a:endParaRPr lang="nb-NO"/>
          </a:p>
          <a:p>
            <a:endParaRPr lang="nb-NO"/>
          </a:p>
        </p:txBody>
      </p:sp>
      <p:sp>
        <p:nvSpPr>
          <p:cNvPr id="21" name="Plassholder for innhold 20">
            <a:extLst>
              <a:ext uri="{FF2B5EF4-FFF2-40B4-BE49-F238E27FC236}">
                <a16:creationId xmlns:a16="http://schemas.microsoft.com/office/drawing/2014/main" id="{6E3A5CB6-CC3E-4527-B463-921048ED04F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11760" y="1949572"/>
            <a:ext cx="5882640" cy="2852495"/>
          </a:xfrm>
        </p:spPr>
        <p:txBody>
          <a:bodyPr>
            <a:normAutofit fontScale="77500" lnSpcReduction="20000"/>
          </a:bodyPr>
          <a:lstStyle/>
          <a:p>
            <a:pPr marL="0" indent="0">
              <a:buNone/>
            </a:pPr>
            <a:r>
              <a:rPr lang="nb-NO"/>
              <a:t>Definerer hvilken enhet i organisasjonen transaksjonen skal tilordnes</a:t>
            </a:r>
          </a:p>
          <a:p>
            <a:pPr marL="0" indent="0">
              <a:buNone/>
            </a:pPr>
            <a:endParaRPr lang="nb-NO"/>
          </a:p>
          <a:p>
            <a:r>
              <a:rPr lang="nb-NO" b="1"/>
              <a:t>Obligatorisk for alle transaksjoner, MÅ fylles ut</a:t>
            </a:r>
          </a:p>
          <a:p>
            <a:r>
              <a:rPr lang="nb-NO"/>
              <a:t>Består av 8 siffer (NYE koststednummer)</a:t>
            </a:r>
          </a:p>
          <a:p>
            <a:r>
              <a:rPr lang="nb-NO"/>
              <a:t>Hierarkisk oppbygging som angir nivået i organisasjonen</a:t>
            </a:r>
          </a:p>
        </p:txBody>
      </p:sp>
      <p:pic>
        <p:nvPicPr>
          <p:cNvPr id="20" name="Bilde 19">
            <a:extLst>
              <a:ext uri="{FF2B5EF4-FFF2-40B4-BE49-F238E27FC236}">
                <a16:creationId xmlns:a16="http://schemas.microsoft.com/office/drawing/2014/main" id="{0965D42C-9575-4A7B-938F-4A2069F6B89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4574" y="1022989"/>
            <a:ext cx="6352408" cy="852460"/>
          </a:xfrm>
          <a:prstGeom prst="rect">
            <a:avLst/>
          </a:prstGeom>
        </p:spPr>
      </p:pic>
      <p:sp>
        <p:nvSpPr>
          <p:cNvPr id="3" name="TekstSylinder 2">
            <a:extLst>
              <a:ext uri="{FF2B5EF4-FFF2-40B4-BE49-F238E27FC236}">
                <a16:creationId xmlns:a16="http://schemas.microsoft.com/office/drawing/2014/main" id="{902D8601-B0EB-7DC1-3986-CEBACD53F1CE}"/>
              </a:ext>
            </a:extLst>
          </p:cNvPr>
          <p:cNvSpPr txBox="1"/>
          <p:nvPr/>
        </p:nvSpPr>
        <p:spPr>
          <a:xfrm>
            <a:off x="5994400" y="2017162"/>
            <a:ext cx="2834640" cy="1754326"/>
          </a:xfrm>
          <a:prstGeom prst="rect">
            <a:avLst/>
          </a:prstGeom>
          <a:noFill/>
          <a:ln w="28575">
            <a:solidFill>
              <a:srgbClr val="BBAC76"/>
            </a:solidFill>
          </a:ln>
        </p:spPr>
        <p:txBody>
          <a:bodyPr wrap="square" rtlCol="0">
            <a:spAutoFit/>
          </a:bodyPr>
          <a:lstStyle/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å i feltet koststed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u kan søke på tall eller tekst for å få opp koststednummer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ks.: Søk på 6610 eller IBI</a:t>
            </a:r>
          </a:p>
        </p:txBody>
      </p:sp>
      <p:graphicFrame>
        <p:nvGraphicFramePr>
          <p:cNvPr id="4" name="Tabell 3">
            <a:extLst>
              <a:ext uri="{FF2B5EF4-FFF2-40B4-BE49-F238E27FC236}">
                <a16:creationId xmlns:a16="http://schemas.microsoft.com/office/drawing/2014/main" id="{146CAC95-3A5D-75AB-DF8B-0F2D3063DBE6}"/>
              </a:ext>
            </a:extLst>
          </p:cNvPr>
          <p:cNvGraphicFramePr>
            <a:graphicFrameLocks noGrp="1"/>
          </p:cNvGraphicFramePr>
          <p:nvPr/>
        </p:nvGraphicFramePr>
        <p:xfrm>
          <a:off x="4155440" y="4120511"/>
          <a:ext cx="4876800" cy="889000"/>
        </p:xfrm>
        <a:graphic>
          <a:graphicData uri="http://schemas.openxmlformats.org/drawingml/2006/table">
            <a:tbl>
              <a:tblPr/>
              <a:tblGrid>
                <a:gridCol w="1219200">
                  <a:extLst>
                    <a:ext uri="{9D8B030D-6E8A-4147-A177-3AD203B41FA5}">
                      <a16:colId xmlns:a16="http://schemas.microsoft.com/office/drawing/2014/main" val="2945202627"/>
                    </a:ext>
                  </a:extLst>
                </a:gridCol>
                <a:gridCol w="3657600">
                  <a:extLst>
                    <a:ext uri="{9D8B030D-6E8A-4147-A177-3AD203B41FA5}">
                      <a16:colId xmlns:a16="http://schemas.microsoft.com/office/drawing/2014/main" val="3413702839"/>
                    </a:ext>
                  </a:extLst>
                </a:gridCol>
              </a:tblGrid>
              <a:tr h="177800"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10050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V-IBI Institutt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30057372"/>
                  </a:ext>
                </a:extLst>
              </a:tr>
              <a:tr h="177800"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10100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V-IBI-Økologi-sekv.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97474751"/>
                  </a:ext>
                </a:extLst>
              </a:tr>
              <a:tr h="177800"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101002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V-IBI-Veksthus PBS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54782010"/>
                  </a:ext>
                </a:extLst>
              </a:tr>
              <a:tr h="177800"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10100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V-IBI-TBS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2934932"/>
                  </a:ext>
                </a:extLst>
              </a:tr>
              <a:tr h="177800"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10150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V-IBI-SFF-CBD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0584046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321015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6C21F683-72E6-4F88-98A3-168CF5D903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646331"/>
          </a:xfrm>
        </p:spPr>
        <p:txBody>
          <a:bodyPr/>
          <a:lstStyle/>
          <a:p>
            <a:r>
              <a:rPr lang="nb-NO"/>
              <a:t>Kontering delprosjekt</a:t>
            </a:r>
          </a:p>
        </p:txBody>
      </p:sp>
      <p:pic>
        <p:nvPicPr>
          <p:cNvPr id="5" name="Plassholder for innhold 4">
            <a:extLst>
              <a:ext uri="{FF2B5EF4-FFF2-40B4-BE49-F238E27FC236}">
                <a16:creationId xmlns:a16="http://schemas.microsoft.com/office/drawing/2014/main" id="{BEDB7FF7-A17D-444C-BC1E-872817346F92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512" y="1263254"/>
            <a:ext cx="5162550" cy="727450"/>
          </a:xfrm>
        </p:spPr>
      </p:pic>
      <p:sp>
        <p:nvSpPr>
          <p:cNvPr id="6" name="Plassholder for innhold 5">
            <a:extLst>
              <a:ext uri="{FF2B5EF4-FFF2-40B4-BE49-F238E27FC236}">
                <a16:creationId xmlns:a16="http://schemas.microsoft.com/office/drawing/2014/main" id="{8CC71455-81E5-43A3-9D21-4F12232927D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82880" y="2011100"/>
            <a:ext cx="5963921" cy="2939519"/>
          </a:xfrm>
        </p:spPr>
        <p:txBody>
          <a:bodyPr>
            <a:normAutofit fontScale="62500" lnSpcReduction="20000"/>
          </a:bodyPr>
          <a:lstStyle/>
          <a:p>
            <a:pPr marL="0" indent="0">
              <a:buNone/>
            </a:pPr>
            <a:r>
              <a:rPr lang="nb-NO"/>
              <a:t>Ivaretar behovet for mer detaljert aktivitets- og styringsinformasjon</a:t>
            </a:r>
          </a:p>
          <a:p>
            <a:pPr marL="0" indent="0">
              <a:buNone/>
            </a:pPr>
            <a:endParaRPr lang="nb-NO"/>
          </a:p>
          <a:p>
            <a:r>
              <a:rPr lang="nb-NO" b="1"/>
              <a:t>Obligatorisk for alle transaksjoner, MÅ fylles ut</a:t>
            </a:r>
          </a:p>
          <a:p>
            <a:pPr lvl="1"/>
            <a:r>
              <a:rPr lang="nb-NO"/>
              <a:t>Når det konteres en verdi på denne dimensjonen kommer prosjekt automatisk.</a:t>
            </a:r>
          </a:p>
          <a:p>
            <a:r>
              <a:rPr lang="nb-NO"/>
              <a:t>Et delprosjekt kan kun knyttes til et prosjekt</a:t>
            </a:r>
          </a:p>
          <a:p>
            <a:r>
              <a:rPr lang="nb-NO"/>
              <a:t>Består av 9 siffer 	</a:t>
            </a:r>
          </a:p>
          <a:p>
            <a:pPr lvl="1"/>
            <a:r>
              <a:rPr lang="nb-NO"/>
              <a:t>De seks første er samme som prosjektet</a:t>
            </a:r>
          </a:p>
          <a:p>
            <a:pPr lvl="1"/>
            <a:r>
              <a:rPr lang="nb-NO"/>
              <a:t>De tre siste er løpenummer</a:t>
            </a:r>
          </a:p>
          <a:p>
            <a:endParaRPr lang="nb-NO"/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363126E5-1372-5678-0E43-EA9F5B740B03}"/>
              </a:ext>
            </a:extLst>
          </p:cNvPr>
          <p:cNvSpPr txBox="1"/>
          <p:nvPr/>
        </p:nvSpPr>
        <p:spPr>
          <a:xfrm>
            <a:off x="6259062" y="2679917"/>
            <a:ext cx="2834640" cy="1200329"/>
          </a:xfrm>
          <a:prstGeom prst="rect">
            <a:avLst/>
          </a:prstGeom>
          <a:noFill/>
          <a:ln w="28575">
            <a:solidFill>
              <a:srgbClr val="BBAC76"/>
            </a:solidFill>
          </a:ln>
        </p:spPr>
        <p:txBody>
          <a:bodyPr wrap="square" rtlCol="0">
            <a:spAutoFit/>
          </a:bodyPr>
          <a:lstStyle/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å i feltet delprosjekt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u kan søke på tall eller tekst for å få opp delprosjektnummer</a:t>
            </a:r>
          </a:p>
        </p:txBody>
      </p:sp>
    </p:spTree>
    <p:extLst>
      <p:ext uri="{BB962C8B-B14F-4D97-AF65-F5344CB8AC3E}">
        <p14:creationId xmlns:p14="http://schemas.microsoft.com/office/powerpoint/2010/main" val="26561502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73E94578-62A3-B67A-5C01-3528E6326A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646331"/>
          </a:xfrm>
        </p:spPr>
        <p:txBody>
          <a:bodyPr/>
          <a:lstStyle/>
          <a:p>
            <a:r>
              <a:rPr lang="nb-NO" err="1"/>
              <a:t>Kontobruk</a:t>
            </a:r>
            <a:endParaRPr lang="nb-NO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B9E9ED8F-E52F-953E-F135-BB266380C64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199" y="1200151"/>
            <a:ext cx="8720847" cy="3394472"/>
          </a:xfrm>
        </p:spPr>
        <p:txBody>
          <a:bodyPr>
            <a:normAutofit fontScale="55000" lnSpcReduction="20000"/>
          </a:bodyPr>
          <a:lstStyle/>
          <a:p>
            <a:pPr marL="0" indent="0">
              <a:buNone/>
            </a:pPr>
            <a:r>
              <a:rPr lang="nb-NO" sz="4400"/>
              <a:t>Driftskostnader:</a:t>
            </a:r>
          </a:p>
          <a:p>
            <a:pPr marL="0" indent="0">
              <a:buNone/>
            </a:pPr>
            <a:r>
              <a:rPr lang="nb-NO" sz="2500"/>
              <a:t>Velg aktuell konto i kontoklasse 6xxx eller 7xxx i ny kontoplan</a:t>
            </a:r>
          </a:p>
          <a:p>
            <a:pPr marL="0" indent="0">
              <a:buNone/>
            </a:pPr>
            <a:endParaRPr lang="nb-NO" sz="1400"/>
          </a:p>
          <a:p>
            <a:pPr marL="0" indent="0">
              <a:buNone/>
            </a:pPr>
            <a:endParaRPr lang="nb-NO"/>
          </a:p>
          <a:p>
            <a:pPr marL="0" indent="0">
              <a:buNone/>
            </a:pPr>
            <a:endParaRPr lang="nb-NO"/>
          </a:p>
          <a:p>
            <a:pPr marL="0" indent="0">
              <a:buNone/>
            </a:pPr>
            <a:endParaRPr lang="nb-NO"/>
          </a:p>
          <a:p>
            <a:pPr marL="0" indent="0">
              <a:buNone/>
            </a:pPr>
            <a:r>
              <a:rPr lang="nb-NO" sz="4400"/>
              <a:t>Unntak- Investering:</a:t>
            </a:r>
          </a:p>
          <a:p>
            <a:pPr marL="0" indent="0">
              <a:buNone/>
            </a:pPr>
            <a:r>
              <a:rPr lang="nb-NO" sz="2500"/>
              <a:t>Med Investering menes:</a:t>
            </a:r>
          </a:p>
          <a:p>
            <a:pPr marL="0" indent="0">
              <a:buNone/>
            </a:pPr>
            <a:r>
              <a:rPr lang="nb-NO" sz="2500"/>
              <a:t>	Utstyr med levetid &gt; 3 år</a:t>
            </a:r>
          </a:p>
          <a:p>
            <a:pPr marL="0" indent="0">
              <a:buNone/>
            </a:pPr>
            <a:r>
              <a:rPr lang="nb-NO" sz="2500"/>
              <a:t>	Anskaffelseskost &gt; NOK 50 000 inkl. MVA</a:t>
            </a:r>
          </a:p>
          <a:p>
            <a:pPr marL="0" indent="0">
              <a:buNone/>
            </a:pPr>
            <a:endParaRPr lang="nb-NO"/>
          </a:p>
          <a:p>
            <a:pPr marL="0" indent="0">
              <a:buNone/>
            </a:pPr>
            <a:r>
              <a:rPr lang="nb-NO" sz="2500"/>
              <a:t>Innkjøpsforespørsel for investering i utstyr og bygg i kontoklasse 10xx,11xx og 12XX - Ta kontakt med din Innkjøper. Her gjelder egne konteringsregler og utfylling av relasjoner i konteringsbildet.</a:t>
            </a:r>
          </a:p>
          <a:p>
            <a:pPr marL="0" indent="0">
              <a:buNone/>
            </a:pPr>
            <a:endParaRPr lang="nb-NO" sz="1400"/>
          </a:p>
        </p:txBody>
      </p:sp>
      <p:pic>
        <p:nvPicPr>
          <p:cNvPr id="9" name="Bilde 8">
            <a:extLst>
              <a:ext uri="{FF2B5EF4-FFF2-40B4-BE49-F238E27FC236}">
                <a16:creationId xmlns:a16="http://schemas.microsoft.com/office/drawing/2014/main" id="{F0311B77-D413-67ED-3BE9-B6BB28B1B21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76672" y="1357009"/>
            <a:ext cx="3667327" cy="875489"/>
          </a:xfrm>
          <a:prstGeom prst="rect">
            <a:avLst/>
          </a:prstGeom>
        </p:spPr>
      </p:pic>
      <p:sp>
        <p:nvSpPr>
          <p:cNvPr id="11" name="Ellipse 10">
            <a:extLst>
              <a:ext uri="{FF2B5EF4-FFF2-40B4-BE49-F238E27FC236}">
                <a16:creationId xmlns:a16="http://schemas.microsoft.com/office/drawing/2014/main" id="{69BE5532-DF1E-F8AF-EFBC-69E2F7186767}"/>
              </a:ext>
            </a:extLst>
          </p:cNvPr>
          <p:cNvSpPr/>
          <p:nvPr/>
        </p:nvSpPr>
        <p:spPr>
          <a:xfrm>
            <a:off x="5335621" y="1200152"/>
            <a:ext cx="505839" cy="1105304"/>
          </a:xfrm>
          <a:prstGeom prst="ellipse">
            <a:avLst/>
          </a:prstGeom>
          <a:noFill/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9299C310-8193-FE28-8658-0A4F3B52B9C3}"/>
              </a:ext>
            </a:extLst>
          </p:cNvPr>
          <p:cNvSpPr/>
          <p:nvPr/>
        </p:nvSpPr>
        <p:spPr>
          <a:xfrm>
            <a:off x="5335621" y="1284051"/>
            <a:ext cx="642026" cy="1186775"/>
          </a:xfrm>
          <a:prstGeom prst="ellipse">
            <a:avLst/>
          </a:prstGeom>
          <a:noFill/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cxnSp>
        <p:nvCxnSpPr>
          <p:cNvPr id="14" name="Rett linje 13">
            <a:extLst>
              <a:ext uri="{FF2B5EF4-FFF2-40B4-BE49-F238E27FC236}">
                <a16:creationId xmlns:a16="http://schemas.microsoft.com/office/drawing/2014/main" id="{1CBE86C8-5BD7-7B10-02A1-7BC7CC5EA780}"/>
              </a:ext>
            </a:extLst>
          </p:cNvPr>
          <p:cNvCxnSpPr>
            <a:endCxn id="12" idx="0"/>
          </p:cNvCxnSpPr>
          <p:nvPr/>
        </p:nvCxnSpPr>
        <p:spPr>
          <a:xfrm flipH="1">
            <a:off x="5656634" y="817123"/>
            <a:ext cx="389106" cy="466928"/>
          </a:xfrm>
          <a:prstGeom prst="line">
            <a:avLst/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Rektangel 14">
            <a:extLst>
              <a:ext uri="{FF2B5EF4-FFF2-40B4-BE49-F238E27FC236}">
                <a16:creationId xmlns:a16="http://schemas.microsoft.com/office/drawing/2014/main" id="{1FFDD338-1AC3-3D42-6A2D-4A1C2F83575C}"/>
              </a:ext>
            </a:extLst>
          </p:cNvPr>
          <p:cNvSpPr/>
          <p:nvPr/>
        </p:nvSpPr>
        <p:spPr>
          <a:xfrm>
            <a:off x="6045740" y="744166"/>
            <a:ext cx="982494" cy="21765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800">
                <a:solidFill>
                  <a:schemeClr val="tx1"/>
                </a:solidFill>
              </a:rPr>
              <a:t>Kontoklasse 6xxx</a:t>
            </a:r>
          </a:p>
        </p:txBody>
      </p:sp>
      <p:sp>
        <p:nvSpPr>
          <p:cNvPr id="16" name="Ellipse 15">
            <a:extLst>
              <a:ext uri="{FF2B5EF4-FFF2-40B4-BE49-F238E27FC236}">
                <a16:creationId xmlns:a16="http://schemas.microsoft.com/office/drawing/2014/main" id="{172FC83C-8FA6-8F3B-6621-B4352B137029}"/>
              </a:ext>
            </a:extLst>
          </p:cNvPr>
          <p:cNvSpPr/>
          <p:nvPr/>
        </p:nvSpPr>
        <p:spPr>
          <a:xfrm>
            <a:off x="5335621" y="1284051"/>
            <a:ext cx="564205" cy="1105304"/>
          </a:xfrm>
          <a:prstGeom prst="ellipse">
            <a:avLst/>
          </a:prstGeom>
          <a:noFill/>
          <a:ln>
            <a:solidFill>
              <a:schemeClr val="accent2">
                <a:lumMod val="40000"/>
                <a:lumOff val="60000"/>
              </a:schemeClr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3505446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7DBF71E-D659-4F0B-86F3-C11FE961E1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3119553"/>
              </p:ext>
            </p:ext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7DBF71E-D659-4F0B-86F3-C11FE961E1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EDC01C2-5FC1-4942-AAAD-071CC20A94C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19063" cy="119063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36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DBD5E1B-33C2-438B-ADF1-B1B19A71D65F}"/>
              </a:ext>
            </a:extLst>
          </p:cNvPr>
          <p:cNvGrpSpPr/>
          <p:nvPr/>
        </p:nvGrpSpPr>
        <p:grpSpPr>
          <a:xfrm>
            <a:off x="363335" y="1441351"/>
            <a:ext cx="2685529" cy="1804498"/>
            <a:chOff x="317191" y="1620719"/>
            <a:chExt cx="3580704" cy="2405997"/>
          </a:xfrm>
        </p:grpSpPr>
        <p:pic>
          <p:nvPicPr>
            <p:cNvPr id="7" name="Graphic 6" descr="Information">
              <a:extLst>
                <a:ext uri="{FF2B5EF4-FFF2-40B4-BE49-F238E27FC236}">
                  <a16:creationId xmlns:a16="http://schemas.microsoft.com/office/drawing/2014/main" id="{C05648B7-7E93-4424-ADCA-A2A638BE145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221577" y="1620719"/>
              <a:ext cx="1791442" cy="1791441"/>
            </a:xfrm>
            <a:prstGeom prst="rect">
              <a:avLst/>
            </a:prstGeom>
          </p:spPr>
        </p:pic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564D2262-1BF8-41B7-A62B-C3953D60E089}"/>
                </a:ext>
              </a:extLst>
            </p:cNvPr>
            <p:cNvSpPr/>
            <p:nvPr/>
          </p:nvSpPr>
          <p:spPr>
            <a:xfrm>
              <a:off x="317191" y="3380386"/>
              <a:ext cx="3580704" cy="646330"/>
            </a:xfrm>
            <a:prstGeom prst="rect">
              <a:avLst/>
            </a:prstGeom>
          </p:spPr>
          <p:txBody>
            <a:bodyPr wrap="square" lIns="68580" tIns="34290" rIns="68580" bIns="34290" anchor="t">
              <a:spAutoFit/>
            </a:bodyPr>
            <a:lstStyle/>
            <a:p>
              <a:pPr algn="ctr"/>
              <a:r>
                <a:rPr lang="nb-NO" sz="1350"/>
                <a:t>Vi skal dele mye informasjon med dere i dag. 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D7D8ED19-9960-4B74-B005-A4B46ABE50F3}"/>
              </a:ext>
            </a:extLst>
          </p:cNvPr>
          <p:cNvGrpSpPr/>
          <p:nvPr/>
        </p:nvGrpSpPr>
        <p:grpSpPr>
          <a:xfrm>
            <a:off x="6179704" y="1441351"/>
            <a:ext cx="2685529" cy="1596749"/>
            <a:chOff x="8406858" y="1620719"/>
            <a:chExt cx="3580704" cy="2128998"/>
          </a:xfrm>
        </p:grpSpPr>
        <p:pic>
          <p:nvPicPr>
            <p:cNvPr id="9" name="Graphic 8" descr="Web cam">
              <a:extLst>
                <a:ext uri="{FF2B5EF4-FFF2-40B4-BE49-F238E27FC236}">
                  <a16:creationId xmlns:a16="http://schemas.microsoft.com/office/drawing/2014/main" id="{917E1E28-4D47-441C-BF02-80995E9F34E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9295479" y="1620719"/>
              <a:ext cx="1791442" cy="1791441"/>
            </a:xfrm>
            <a:prstGeom prst="rect">
              <a:avLst/>
            </a:prstGeom>
          </p:spPr>
        </p:pic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3C8B9C46-76B4-4278-89A2-5D0051F2489D}"/>
                </a:ext>
              </a:extLst>
            </p:cNvPr>
            <p:cNvSpPr/>
            <p:nvPr/>
          </p:nvSpPr>
          <p:spPr>
            <a:xfrm>
              <a:off x="8406858" y="3380385"/>
              <a:ext cx="3580704" cy="369332"/>
            </a:xfrm>
            <a:prstGeom prst="rect">
              <a:avLst/>
            </a:prstGeom>
          </p:spPr>
          <p:txBody>
            <a:bodyPr wrap="square" lIns="68580" tIns="34290" rIns="68580" bIns="34290" anchor="t">
              <a:spAutoFit/>
            </a:bodyPr>
            <a:lstStyle/>
            <a:p>
              <a:pPr algn="ctr"/>
              <a:r>
                <a:rPr lang="nb-NO" sz="1350"/>
                <a:t>Vi vil gjøre opptak  av møtet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F2BFAB41-6732-4893-AFB9-3D7DC5223560}"/>
              </a:ext>
            </a:extLst>
          </p:cNvPr>
          <p:cNvGrpSpPr/>
          <p:nvPr/>
        </p:nvGrpSpPr>
        <p:grpSpPr>
          <a:xfrm>
            <a:off x="3271521" y="1441351"/>
            <a:ext cx="2685529" cy="1827579"/>
            <a:chOff x="4362024" y="1620719"/>
            <a:chExt cx="3580704" cy="2436774"/>
          </a:xfrm>
        </p:grpSpPr>
        <p:pic>
          <p:nvPicPr>
            <p:cNvPr id="11" name="Graphic 10" descr="Radio microphone">
              <a:extLst>
                <a:ext uri="{FF2B5EF4-FFF2-40B4-BE49-F238E27FC236}">
                  <a16:creationId xmlns:a16="http://schemas.microsoft.com/office/drawing/2014/main" id="{72B72DDA-A44F-47A9-A947-702CD79ACD51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5256655" y="1620719"/>
              <a:ext cx="1791442" cy="1791441"/>
            </a:xfrm>
            <a:prstGeom prst="rect">
              <a:avLst/>
            </a:prstGeom>
          </p:spPr>
        </p:pic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7D2C2CD8-3CCB-46AC-8E7D-8FE36AD32298}"/>
                </a:ext>
              </a:extLst>
            </p:cNvPr>
            <p:cNvSpPr/>
            <p:nvPr/>
          </p:nvSpPr>
          <p:spPr>
            <a:xfrm>
              <a:off x="4362024" y="3380385"/>
              <a:ext cx="3580704" cy="67710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nb-NO" sz="1350"/>
                <a:t>Vi er mange deltagere – husk å dempe mikrofonen. </a:t>
              </a:r>
            </a:p>
          </p:txBody>
        </p: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4749654-D5E7-4FB6-B9BF-F35DC6D47528}"/>
                </a:ext>
              </a:extLst>
            </p:cNvPr>
            <p:cNvCxnSpPr/>
            <p:nvPr/>
          </p:nvCxnSpPr>
          <p:spPr>
            <a:xfrm flipV="1">
              <a:off x="5533251" y="1881427"/>
              <a:ext cx="1238250" cy="1238250"/>
            </a:xfrm>
            <a:prstGeom prst="line">
              <a:avLst/>
            </a:prstGeom>
            <a:ln w="28575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5C6BD5F5-1ABF-4FD6-B1DD-61505B400A76}"/>
              </a:ext>
            </a:extLst>
          </p:cNvPr>
          <p:cNvSpPr txBox="1"/>
          <p:nvPr/>
        </p:nvSpPr>
        <p:spPr>
          <a:xfrm>
            <a:off x="363335" y="969257"/>
            <a:ext cx="2903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/>
              <a:t>Kort før vi begynner:</a:t>
            </a:r>
          </a:p>
        </p:txBody>
      </p:sp>
    </p:spTree>
    <p:extLst>
      <p:ext uri="{BB962C8B-B14F-4D97-AF65-F5344CB8AC3E}">
        <p14:creationId xmlns:p14="http://schemas.microsoft.com/office/powerpoint/2010/main" val="257298926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CBA7CD-CB59-4B93-883D-65CBF05ED4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CBA7CD-CB59-4B93-883D-65CBF05ED4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97A77EE-7428-4BA9-B2B1-D73C5881D7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Agenda</a:t>
            </a:r>
          </a:p>
        </p:txBody>
      </p:sp>
      <p:graphicFrame>
        <p:nvGraphicFramePr>
          <p:cNvPr id="4" name="Table 6">
            <a:extLst>
              <a:ext uri="{FF2B5EF4-FFF2-40B4-BE49-F238E27FC236}">
                <a16:creationId xmlns:a16="http://schemas.microsoft.com/office/drawing/2014/main" id="{6BC5C563-D417-42F7-85F7-ECCA2B7AB6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3096550"/>
              </p:ext>
            </p:extLst>
          </p:nvPr>
        </p:nvGraphicFramePr>
        <p:xfrm>
          <a:off x="362626" y="1053530"/>
          <a:ext cx="8418747" cy="3648009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070910">
                  <a:extLst>
                    <a:ext uri="{9D8B030D-6E8A-4147-A177-3AD203B41FA5}">
                      <a16:colId xmlns:a16="http://schemas.microsoft.com/office/drawing/2014/main" val="1601383899"/>
                    </a:ext>
                  </a:extLst>
                </a:gridCol>
                <a:gridCol w="1347837">
                  <a:extLst>
                    <a:ext uri="{9D8B030D-6E8A-4147-A177-3AD203B41FA5}">
                      <a16:colId xmlns:a16="http://schemas.microsoft.com/office/drawing/2014/main" val="694349209"/>
                    </a:ext>
                  </a:extLst>
                </a:gridCol>
              </a:tblGrid>
              <a:tr h="357149">
                <a:tc>
                  <a:txBody>
                    <a:bodyPr/>
                    <a:lstStyle/>
                    <a:p>
                      <a:r>
                        <a:rPr lang="nb-NO" sz="1400" b="1">
                          <a:solidFill>
                            <a:schemeClr val="tx1"/>
                          </a:solidFill>
                        </a:rPr>
                        <a:t>Oppsummering av BOTT E-læring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>
                          <a:solidFill>
                            <a:schemeClr val="tx1"/>
                          </a:solidFill>
                        </a:rPr>
                        <a:t>15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7801232"/>
                  </a:ext>
                </a:extLst>
              </a:tr>
              <a:tr h="414523">
                <a:tc>
                  <a:txBody>
                    <a:bodyPr/>
                    <a:lstStyle/>
                    <a:p>
                      <a:r>
                        <a:rPr lang="nb-NO" sz="1400" b="1" i="0"/>
                        <a:t>Hovedforskjeller fra dagens løsning</a:t>
                      </a:r>
                      <a:endParaRPr lang="nb-NO" sz="1400" b="0" i="1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i="0"/>
                        <a:t>15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878283"/>
                  </a:ext>
                </a:extLst>
              </a:tr>
              <a:tr h="405269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nb-NO" sz="1400" b="1" i="0"/>
                        <a:t>Om ny økonomimodell – hva betyr det for deg som fagrekvirent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i="0"/>
                        <a:t>15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1896127"/>
                  </a:ext>
                </a:extLst>
              </a:tr>
              <a:tr h="416672">
                <a:tc>
                  <a:txBody>
                    <a:bodyPr/>
                    <a:lstStyle/>
                    <a:p>
                      <a:r>
                        <a:rPr lang="nb-NO" sz="1400" b="1" i="0">
                          <a:solidFill>
                            <a:schemeClr val="bg1"/>
                          </a:solidFill>
                        </a:rPr>
                        <a:t>Mer om </a:t>
                      </a:r>
                      <a:r>
                        <a:rPr lang="nb-NO" sz="1400" b="1" i="0" err="1">
                          <a:solidFill>
                            <a:schemeClr val="bg1"/>
                          </a:solidFill>
                        </a:rPr>
                        <a:t>mva</a:t>
                      </a:r>
                      <a:r>
                        <a:rPr lang="nb-NO" sz="1400" b="1" i="0">
                          <a:solidFill>
                            <a:schemeClr val="bg1"/>
                          </a:solidFill>
                        </a:rPr>
                        <a:t> </a:t>
                      </a:r>
                    </a:p>
                  </a:txBody>
                  <a:tcPr>
                    <a:solidFill>
                      <a:srgbClr val="01469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i="0">
                          <a:solidFill>
                            <a:schemeClr val="bg1"/>
                          </a:solidFill>
                        </a:rPr>
                        <a:t>15 min</a:t>
                      </a:r>
                    </a:p>
                  </a:txBody>
                  <a:tcPr>
                    <a:solidFill>
                      <a:srgbClr val="0146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5042368"/>
                  </a:ext>
                </a:extLst>
              </a:tr>
              <a:tr h="416672">
                <a:tc>
                  <a:txBody>
                    <a:bodyPr/>
                    <a:lstStyle/>
                    <a:p>
                      <a:r>
                        <a:rPr lang="nb-NO" sz="1400" b="1" i="0"/>
                        <a:t>Nye begreper / Terminologi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i="0"/>
                        <a:t>  5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311385"/>
                  </a:ext>
                </a:extLst>
              </a:tr>
              <a:tr h="616555">
                <a:tc>
                  <a:txBody>
                    <a:bodyPr/>
                    <a:lstStyle/>
                    <a:p>
                      <a:r>
                        <a:rPr lang="nb-NO" sz="1400" b="1" i="0"/>
                        <a:t>Kort demo av Unit4 ERP – opprette innkjøpsforespørsel og utføre vare-/tjenestemottak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i="0"/>
                        <a:t>20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3655383"/>
                  </a:ext>
                </a:extLst>
              </a:tr>
              <a:tr h="523552">
                <a:tc>
                  <a:txBody>
                    <a:bodyPr/>
                    <a:lstStyle/>
                    <a:p>
                      <a:r>
                        <a:rPr lang="nb-NO" sz="1400" b="1" i="0"/>
                        <a:t>Hva skjer videre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i="0"/>
                        <a:t>  5 mi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32332376"/>
                  </a:ext>
                </a:extLst>
              </a:tr>
              <a:tr h="497617">
                <a:tc>
                  <a:txBody>
                    <a:bodyPr/>
                    <a:lstStyle/>
                    <a:p>
                      <a:r>
                        <a:rPr lang="nb-NO" sz="1400" b="1" i="0"/>
                        <a:t>Spørsmål og svar</a:t>
                      </a:r>
                      <a:endParaRPr lang="nb-NO" sz="1400" b="0" i="1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i="0"/>
                        <a:t>30 mi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990884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1183503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0FE715FB-3C9E-534F-D347-5F6EC2A4E6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8935" y="59376"/>
            <a:ext cx="8820953" cy="894733"/>
          </a:xfrm>
        </p:spPr>
        <p:txBody>
          <a:bodyPr/>
          <a:lstStyle/>
          <a:p>
            <a:br>
              <a:rPr lang="nb-NO" sz="2400"/>
            </a:br>
            <a:r>
              <a:rPr lang="nb-NO" sz="2800"/>
              <a:t>Registrering av </a:t>
            </a:r>
            <a:r>
              <a:rPr lang="nb-NO" sz="2800" err="1"/>
              <a:t>mva</a:t>
            </a:r>
            <a:r>
              <a:rPr lang="nb-NO" sz="2800"/>
              <a:t> på innkjøpsforespørse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C9D01060-14BD-87EB-A07D-C5F1CEB1F53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0000" tIns="46800" rIns="90000" bIns="46800" rtlCol="0" anchor="t">
            <a:noAutofit/>
          </a:bodyPr>
          <a:lstStyle/>
          <a:p>
            <a:pPr algn="l">
              <a:buFont typeface="Arial" panose="020B0604020202020204" pitchFamily="34" charset="0"/>
              <a:buChar char="•"/>
            </a:pPr>
            <a:endParaRPr lang="nb-NO" b="0" i="0">
              <a:solidFill>
                <a:srgbClr val="222222"/>
              </a:solidFill>
              <a:effectLst/>
              <a:latin typeface="myriad-pro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nb-NO" b="0" i="0">
                <a:solidFill>
                  <a:srgbClr val="222222"/>
                </a:solidFill>
                <a:effectLst/>
                <a:latin typeface="myriad-pro"/>
              </a:rPr>
              <a:t>Merverdiavgifts behandling på bestillingen må være riktig slik at </a:t>
            </a:r>
            <a:r>
              <a:rPr lang="nb-NO">
                <a:solidFill>
                  <a:srgbClr val="222222"/>
                </a:solidFill>
                <a:latin typeface="myriad-pro"/>
              </a:rPr>
              <a:t>innkjøpsordre</a:t>
            </a:r>
            <a:r>
              <a:rPr lang="nb-NO" b="0" i="0">
                <a:solidFill>
                  <a:srgbClr val="222222"/>
                </a:solidFill>
                <a:effectLst/>
                <a:latin typeface="myriad-pro"/>
              </a:rPr>
              <a:t> matcher mot faktura fra leverandør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nb-NO" b="0" i="0">
                <a:solidFill>
                  <a:srgbClr val="222222"/>
                </a:solidFill>
                <a:effectLst/>
                <a:latin typeface="myriad-pro"/>
              </a:rPr>
              <a:t>Korrekt kostnad blir anvist (hovedsakelig er </a:t>
            </a:r>
            <a:r>
              <a:rPr lang="nb-NO" b="0" i="0" err="1">
                <a:solidFill>
                  <a:srgbClr val="222222"/>
                </a:solidFill>
                <a:effectLst/>
                <a:latin typeface="myriad-pro"/>
              </a:rPr>
              <a:t>mva</a:t>
            </a:r>
            <a:r>
              <a:rPr lang="nb-NO" b="0" i="0">
                <a:solidFill>
                  <a:srgbClr val="222222"/>
                </a:solidFill>
                <a:effectLst/>
                <a:latin typeface="myriad-pro"/>
              </a:rPr>
              <a:t> en kostnad i regnskapet for NTNU)</a:t>
            </a:r>
            <a:r>
              <a:rPr lang="nb-NO">
                <a:solidFill>
                  <a:srgbClr val="222222"/>
                </a:solidFill>
                <a:latin typeface="myriad-pro"/>
              </a:rPr>
              <a:t> </a:t>
            </a:r>
            <a:endParaRPr lang="nb-NO" b="0" i="0">
              <a:solidFill>
                <a:srgbClr val="222222"/>
              </a:solidFill>
              <a:effectLst/>
              <a:latin typeface="myriad-pro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nb-NO" b="0" i="0">
                <a:solidFill>
                  <a:srgbClr val="222222"/>
                </a:solidFill>
                <a:effectLst/>
                <a:latin typeface="myriad-pro"/>
              </a:rPr>
              <a:t>Rapportering til skattemyndighetene blir korrekt</a:t>
            </a:r>
          </a:p>
          <a:p>
            <a:pPr>
              <a:buFont typeface="Arial" panose="020B0604020202020204" pitchFamily="34" charset="0"/>
              <a:buChar char="•"/>
            </a:pPr>
            <a:endParaRPr lang="nb-NO" b="0" i="0">
              <a:solidFill>
                <a:srgbClr val="222222"/>
              </a:solidFill>
              <a:effectLst/>
              <a:latin typeface="myriad-pro"/>
            </a:endParaRPr>
          </a:p>
          <a:p>
            <a:pPr algn="l">
              <a:buFont typeface="Arial" panose="020B0604020202020204" pitchFamily="34" charset="0"/>
              <a:buChar char="•"/>
            </a:pPr>
            <a:endParaRPr lang="nb-NO" b="0" i="0">
              <a:solidFill>
                <a:srgbClr val="222222"/>
              </a:solidFill>
              <a:effectLst/>
              <a:latin typeface="myriad-pro"/>
            </a:endParaRPr>
          </a:p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0741112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62204013-69A2-6245-A7DC-84E8FD8955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320" y="280907"/>
            <a:ext cx="7905028" cy="586957"/>
          </a:xfrm>
        </p:spPr>
        <p:txBody>
          <a:bodyPr/>
          <a:lstStyle/>
          <a:p>
            <a:r>
              <a:rPr lang="nb-NO" sz="3200"/>
              <a:t>Registrering av </a:t>
            </a:r>
            <a:r>
              <a:rPr lang="nb-NO" sz="3200" err="1"/>
              <a:t>mva</a:t>
            </a:r>
            <a:r>
              <a:rPr lang="nb-NO" sz="3200"/>
              <a:t> kode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A5A21424-D634-E445-A8B0-6C748C138F8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6826" y="1142564"/>
            <a:ext cx="6172200" cy="3426550"/>
          </a:xfrm>
        </p:spPr>
        <p:txBody>
          <a:bodyPr>
            <a:normAutofit/>
          </a:bodyPr>
          <a:lstStyle/>
          <a:p>
            <a:pPr marL="257175" lvl="2" indent="-257175"/>
            <a:r>
              <a:rPr lang="nb-NO"/>
              <a:t>Hvilken MVA-sats (%) ved opprettelse av innkjøpsforespørsel</a:t>
            </a:r>
          </a:p>
          <a:p>
            <a:pPr marL="714375" lvl="3" indent="-257175"/>
            <a:r>
              <a:rPr lang="nb-NO"/>
              <a:t>25 %</a:t>
            </a:r>
          </a:p>
          <a:p>
            <a:pPr marL="714375" lvl="3" indent="-257175"/>
            <a:r>
              <a:rPr lang="nb-NO"/>
              <a:t>15%</a:t>
            </a:r>
          </a:p>
          <a:p>
            <a:pPr marL="714375" lvl="3" indent="-257175"/>
            <a:r>
              <a:rPr lang="nb-NO"/>
              <a:t>12%</a:t>
            </a:r>
          </a:p>
          <a:p>
            <a:pPr marL="714375" lvl="3" indent="-257175"/>
            <a:r>
              <a:rPr lang="nb-NO"/>
              <a:t>  0%</a:t>
            </a:r>
          </a:p>
          <a:p>
            <a:pPr marL="257175" lvl="2" indent="-257175"/>
            <a:r>
              <a:rPr lang="nb-NO"/>
              <a:t>Innkjøpsforespørsel til Norsk Leverandør?</a:t>
            </a:r>
          </a:p>
          <a:p>
            <a:pPr marL="257175" lvl="2" indent="-257175"/>
            <a:r>
              <a:rPr lang="nb-NO"/>
              <a:t>Innkjøpsforespørsel til Utenlandsk Leverandør?</a:t>
            </a:r>
          </a:p>
          <a:p>
            <a:pPr marL="714375" lvl="3" indent="-257175"/>
            <a:r>
              <a:rPr lang="nb-NO"/>
              <a:t>Er anskaffelsen en vare eller en tjeneste</a:t>
            </a:r>
          </a:p>
        </p:txBody>
      </p:sp>
    </p:spTree>
    <p:extLst>
      <p:ext uri="{BB962C8B-B14F-4D97-AF65-F5344CB8AC3E}">
        <p14:creationId xmlns:p14="http://schemas.microsoft.com/office/powerpoint/2010/main" val="296208978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0C9D212F-50E9-321C-FE68-3821F8EBF2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98339"/>
            <a:ext cx="7615382" cy="525401"/>
          </a:xfrm>
        </p:spPr>
        <p:txBody>
          <a:bodyPr/>
          <a:lstStyle/>
          <a:p>
            <a:r>
              <a:rPr lang="nb-NO" sz="2800" err="1"/>
              <a:t>Mva</a:t>
            </a:r>
            <a:r>
              <a:rPr lang="nb-NO" sz="2800"/>
              <a:t> - koder i Unit4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EECD6B14-C917-C6ED-B3E1-4880EA231B2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1350" y="946851"/>
            <a:ext cx="6172200" cy="3789553"/>
          </a:xfrm>
        </p:spPr>
        <p:txBody>
          <a:bodyPr vert="horz" lIns="90000" tIns="46800" rIns="90000" bIns="46800" rtlCol="0" anchor="t">
            <a:noAutofit/>
          </a:bodyPr>
          <a:lstStyle/>
          <a:p>
            <a:pPr marL="0" indent="0">
              <a:buNone/>
            </a:pPr>
            <a:r>
              <a:rPr lang="nb-NO" sz="1350"/>
              <a:t>Kostnader og investeringer (kjøp)</a:t>
            </a:r>
          </a:p>
          <a:p>
            <a:pPr marL="0" indent="0">
              <a:buNone/>
            </a:pPr>
            <a:r>
              <a:rPr lang="nb-NO" sz="1500"/>
              <a:t>Innkjøpsforespørsel NORSKE leverandører</a:t>
            </a:r>
          </a:p>
        </p:txBody>
      </p:sp>
      <p:graphicFrame>
        <p:nvGraphicFramePr>
          <p:cNvPr id="6" name="Tabell 6">
            <a:extLst>
              <a:ext uri="{FF2B5EF4-FFF2-40B4-BE49-F238E27FC236}">
                <a16:creationId xmlns:a16="http://schemas.microsoft.com/office/drawing/2014/main" id="{3E7108DF-B46D-22BF-560E-6CA89AD7BA2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06555819"/>
              </p:ext>
            </p:extLst>
          </p:nvPr>
        </p:nvGraphicFramePr>
        <p:xfrm>
          <a:off x="696470" y="1727456"/>
          <a:ext cx="6141230" cy="31177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73023">
                  <a:extLst>
                    <a:ext uri="{9D8B030D-6E8A-4147-A177-3AD203B41FA5}">
                      <a16:colId xmlns:a16="http://schemas.microsoft.com/office/drawing/2014/main" val="3087556225"/>
                    </a:ext>
                  </a:extLst>
                </a:gridCol>
                <a:gridCol w="1683469">
                  <a:extLst>
                    <a:ext uri="{9D8B030D-6E8A-4147-A177-3AD203B41FA5}">
                      <a16:colId xmlns:a16="http://schemas.microsoft.com/office/drawing/2014/main" val="2674523734"/>
                    </a:ext>
                  </a:extLst>
                </a:gridCol>
                <a:gridCol w="1228246">
                  <a:extLst>
                    <a:ext uri="{9D8B030D-6E8A-4147-A177-3AD203B41FA5}">
                      <a16:colId xmlns:a16="http://schemas.microsoft.com/office/drawing/2014/main" val="579894249"/>
                    </a:ext>
                  </a:extLst>
                </a:gridCol>
                <a:gridCol w="651289">
                  <a:extLst>
                    <a:ext uri="{9D8B030D-6E8A-4147-A177-3AD203B41FA5}">
                      <a16:colId xmlns:a16="http://schemas.microsoft.com/office/drawing/2014/main" val="1533669522"/>
                    </a:ext>
                  </a:extLst>
                </a:gridCol>
                <a:gridCol w="1805203">
                  <a:extLst>
                    <a:ext uri="{9D8B030D-6E8A-4147-A177-3AD203B41FA5}">
                      <a16:colId xmlns:a16="http://schemas.microsoft.com/office/drawing/2014/main" val="2660132291"/>
                    </a:ext>
                  </a:extLst>
                </a:gridCol>
              </a:tblGrid>
              <a:tr h="258604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VA - KODE Unit 4</a:t>
                      </a:r>
                    </a:p>
                  </a:txBody>
                  <a:tcPr marL="7144" marR="7144" marT="7144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orklaring</a:t>
                      </a:r>
                    </a:p>
                  </a:txBody>
                  <a:tcPr marL="7144" marR="7144" marT="7144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ksempel </a:t>
                      </a:r>
                    </a:p>
                  </a:txBody>
                  <a:tcPr marL="7144" marR="7144" marT="7144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Gammel MVA- kode</a:t>
                      </a:r>
                    </a:p>
                  </a:txBody>
                  <a:tcPr marL="7144" marR="7144" marT="7144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ommentar</a:t>
                      </a:r>
                    </a:p>
                  </a:txBody>
                  <a:tcPr marL="7144" marR="7144" marT="7144" marB="0"/>
                </a:tc>
                <a:extLst>
                  <a:ext uri="{0D108BD9-81ED-4DB2-BD59-A6C34878D82A}">
                    <a16:rowId xmlns:a16="http://schemas.microsoft.com/office/drawing/2014/main" val="2467602554"/>
                  </a:ext>
                </a:extLst>
              </a:tr>
              <a:tr h="408443">
                <a:tc>
                  <a:txBody>
                    <a:bodyPr/>
                    <a:lstStyle/>
                    <a:p>
                      <a:pPr algn="ctr" fontAlgn="b"/>
                      <a:r>
                        <a:rPr lang="nb-NO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XI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jøp av varer eller tjenester med 25% MVA uten fradragsrett 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rdinære kjøp til egen bruk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0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1107504571"/>
                  </a:ext>
                </a:extLst>
              </a:tr>
              <a:tr h="408443">
                <a:tc>
                  <a:txBody>
                    <a:bodyPr/>
                    <a:lstStyle/>
                    <a:p>
                      <a:pPr algn="ctr" fontAlgn="b"/>
                      <a:r>
                        <a:rPr lang="nb-NO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X2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jøp av varer eller tjenester med 15% MVA uten fradragsrett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jøp av mat til egen bruk (ikke servering)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0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630217250"/>
                  </a:ext>
                </a:extLst>
              </a:tr>
              <a:tr h="408443">
                <a:tc>
                  <a:txBody>
                    <a:bodyPr/>
                    <a:lstStyle/>
                    <a:p>
                      <a:pPr algn="ctr" fontAlgn="b"/>
                      <a:r>
                        <a:rPr lang="nb-NO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X3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jøp av varer eller tjenester med 12% MVA uten fradragsrett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jøp av transporttjenester til egen bruk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0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907747443"/>
                  </a:ext>
                </a:extLst>
              </a:tr>
              <a:tr h="408443">
                <a:tc>
                  <a:txBody>
                    <a:bodyPr/>
                    <a:lstStyle/>
                    <a:p>
                      <a:pPr algn="ctr" fontAlgn="b"/>
                      <a:r>
                        <a:rPr lang="nb-NO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N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jøp av varer eller tjenester med 25% MVA med fradragsrett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arer eller tjenester for direkte videresalg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357443866"/>
                  </a:ext>
                </a:extLst>
              </a:tr>
              <a:tr h="408443">
                <a:tc>
                  <a:txBody>
                    <a:bodyPr/>
                    <a:lstStyle/>
                    <a:p>
                      <a:pPr algn="ctr" fontAlgn="b"/>
                      <a:r>
                        <a:rPr lang="nb-NO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jøp av varer med 15% MVA med fradragsrett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jøp av mat for direkte videresalg (ikke servering)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Y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VA KODE  lite aktuell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2134419341"/>
                  </a:ext>
                </a:extLst>
              </a:tr>
              <a:tr h="408443">
                <a:tc>
                  <a:txBody>
                    <a:bodyPr/>
                    <a:lstStyle/>
                    <a:p>
                      <a:pPr algn="ctr" fontAlgn="b"/>
                      <a:r>
                        <a:rPr lang="nb-NO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jøp av tjenester med 12% MVA med fradragsrett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jøp av transporttjenester for direkte videresalg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VA KODE  lite aktuell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261749724"/>
                  </a:ext>
                </a:extLst>
              </a:tr>
              <a:tr h="408443">
                <a:tc>
                  <a:txBody>
                    <a:bodyPr/>
                    <a:lstStyle/>
                    <a:p>
                      <a:pPr algn="ctr" fontAlgn="b"/>
                      <a:r>
                        <a:rPr lang="nb-NO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jøp av varer eller tjenester uten MVA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øker til eget bibliotek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0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275737967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8125891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2A0F01EB-7297-699D-8DB3-9F015AEED1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98339"/>
            <a:ext cx="7615382" cy="525401"/>
          </a:xfrm>
        </p:spPr>
        <p:txBody>
          <a:bodyPr/>
          <a:lstStyle/>
          <a:p>
            <a:r>
              <a:rPr lang="nb-NO" sz="2800"/>
              <a:t>Beslutnings-tre kjøp i Norge</a:t>
            </a:r>
          </a:p>
        </p:txBody>
      </p:sp>
      <p:sp>
        <p:nvSpPr>
          <p:cNvPr id="8" name="Plassholder for innhold 7">
            <a:extLst>
              <a:ext uri="{FF2B5EF4-FFF2-40B4-BE49-F238E27FC236}">
                <a16:creationId xmlns:a16="http://schemas.microsoft.com/office/drawing/2014/main" id="{274E2068-7F46-D2DC-7220-79EFC545D5A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nb-NO"/>
          </a:p>
        </p:txBody>
      </p: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782C321F-F8D2-1336-2B96-722D96609A9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49107205"/>
              </p:ext>
            </p:extLst>
          </p:nvPr>
        </p:nvGraphicFramePr>
        <p:xfrm>
          <a:off x="1071418" y="946851"/>
          <a:ext cx="6981582" cy="373043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cxnSp>
        <p:nvCxnSpPr>
          <p:cNvPr id="11" name="Rett linje 10">
            <a:extLst>
              <a:ext uri="{FF2B5EF4-FFF2-40B4-BE49-F238E27FC236}">
                <a16:creationId xmlns:a16="http://schemas.microsoft.com/office/drawing/2014/main" id="{6B21D3EB-608C-CD70-7205-66F3F04A6295}"/>
              </a:ext>
            </a:extLst>
          </p:cNvPr>
          <p:cNvCxnSpPr>
            <a:cxnSpLocks/>
          </p:cNvCxnSpPr>
          <p:nvPr/>
        </p:nvCxnSpPr>
        <p:spPr>
          <a:xfrm>
            <a:off x="4076454" y="3526340"/>
            <a:ext cx="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576901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E629419B-FB3A-6BEC-DD0E-D62DE7E947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4188" y="105771"/>
            <a:ext cx="8617130" cy="525401"/>
          </a:xfrm>
        </p:spPr>
        <p:txBody>
          <a:bodyPr/>
          <a:lstStyle/>
          <a:p>
            <a:r>
              <a:rPr lang="nb-NO" sz="2800"/>
              <a:t>Eksempel på </a:t>
            </a:r>
            <a:r>
              <a:rPr lang="nb-NO" sz="2800" err="1"/>
              <a:t>mva</a:t>
            </a:r>
            <a:r>
              <a:rPr lang="nb-NO" sz="2800"/>
              <a:t>-koder til norske leverandører</a:t>
            </a:r>
          </a:p>
        </p:txBody>
      </p:sp>
      <p:graphicFrame>
        <p:nvGraphicFramePr>
          <p:cNvPr id="4" name="Tabell 4">
            <a:extLst>
              <a:ext uri="{FF2B5EF4-FFF2-40B4-BE49-F238E27FC236}">
                <a16:creationId xmlns:a16="http://schemas.microsoft.com/office/drawing/2014/main" id="{B7F914F9-93EB-95AD-D192-AD33733CC78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788354185"/>
              </p:ext>
            </p:extLst>
          </p:nvPr>
        </p:nvGraphicFramePr>
        <p:xfrm>
          <a:off x="666345" y="1203068"/>
          <a:ext cx="5333816" cy="30779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3840">
                  <a:extLst>
                    <a:ext uri="{9D8B030D-6E8A-4147-A177-3AD203B41FA5}">
                      <a16:colId xmlns:a16="http://schemas.microsoft.com/office/drawing/2014/main" val="4035450186"/>
                    </a:ext>
                  </a:extLst>
                </a:gridCol>
                <a:gridCol w="1709532">
                  <a:extLst>
                    <a:ext uri="{9D8B030D-6E8A-4147-A177-3AD203B41FA5}">
                      <a16:colId xmlns:a16="http://schemas.microsoft.com/office/drawing/2014/main" val="3941054923"/>
                    </a:ext>
                  </a:extLst>
                </a:gridCol>
                <a:gridCol w="1820444">
                  <a:extLst>
                    <a:ext uri="{9D8B030D-6E8A-4147-A177-3AD203B41FA5}">
                      <a16:colId xmlns:a16="http://schemas.microsoft.com/office/drawing/2014/main" val="1209192735"/>
                    </a:ext>
                  </a:extLst>
                </a:gridCol>
              </a:tblGrid>
              <a:tr h="540488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>
                          <a:solidFill>
                            <a:schemeClr val="tx1"/>
                          </a:solidFill>
                        </a:rPr>
                        <a:t>MVA-kode X1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800">
                          <a:solidFill>
                            <a:schemeClr val="tx1"/>
                          </a:solidFill>
                        </a:rPr>
                        <a:t>(Ordinært kjøp til egen bruk)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>
                          <a:solidFill>
                            <a:schemeClr val="tx1"/>
                          </a:solidFill>
                        </a:rPr>
                        <a:t>MVA-</a:t>
                      </a:r>
                      <a:r>
                        <a:rPr lang="en-US" sz="1400" err="1">
                          <a:solidFill>
                            <a:schemeClr val="tx1"/>
                          </a:solidFill>
                        </a:rPr>
                        <a:t>kode</a:t>
                      </a:r>
                      <a:r>
                        <a:rPr lang="en-US" sz="1400">
                          <a:solidFill>
                            <a:schemeClr val="tx1"/>
                          </a:solidFill>
                        </a:rPr>
                        <a:t> X2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8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Kjøp av mat til egen bruk ikke servering)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>
                          <a:solidFill>
                            <a:schemeClr val="tx1"/>
                          </a:solidFill>
                        </a:rPr>
                        <a:t>MVA-kode IN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8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Varer eller tjenester for direkte videresalg)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177286779"/>
                  </a:ext>
                </a:extLst>
              </a:tr>
              <a:tr h="2537460">
                <a:tc>
                  <a:txBody>
                    <a:bodyPr/>
                    <a:lstStyle/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nb-NO" sz="1400" b="0" i="0" u="none">
                          <a:solidFill>
                            <a:schemeClr val="tx1"/>
                          </a:solidFill>
                        </a:rPr>
                        <a:t>6580</a:t>
                      </a:r>
                      <a:r>
                        <a:rPr lang="nb-NO" sz="140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nb-NO" sz="1400" b="0" i="0" u="none">
                          <a:solidFill>
                            <a:schemeClr val="tx1"/>
                          </a:solidFill>
                        </a:rPr>
                        <a:t>Forbruks- og driftsmateriell, lab./verksted</a:t>
                      </a:r>
                      <a:endParaRPr lang="en-US" sz="1400">
                        <a:solidFill>
                          <a:schemeClr val="tx1"/>
                        </a:solidFill>
                      </a:endParaRP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nb-NO" sz="1400" b="0" i="0" u="none">
                          <a:solidFill>
                            <a:schemeClr val="tx1"/>
                          </a:solidFill>
                        </a:rPr>
                        <a:t>6581</a:t>
                      </a:r>
                      <a:r>
                        <a:rPr lang="nb-NO" sz="140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nb-NO" sz="1400" b="0" i="0" u="none">
                          <a:solidFill>
                            <a:schemeClr val="tx1"/>
                          </a:solidFill>
                        </a:rPr>
                        <a:t>Gass og kjemikalier</a:t>
                      </a:r>
                      <a:endParaRPr lang="en-US" sz="1400">
                        <a:solidFill>
                          <a:schemeClr val="tx1"/>
                        </a:solidFill>
                      </a:endParaRP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nb-NO" sz="1400" b="0" i="0" u="none">
                          <a:solidFill>
                            <a:schemeClr val="tx1"/>
                          </a:solidFill>
                        </a:rPr>
                        <a:t>6583</a:t>
                      </a:r>
                      <a:r>
                        <a:rPr lang="nb-NO" sz="140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nb-NO" sz="1400" b="0" i="0" u="none">
                          <a:solidFill>
                            <a:schemeClr val="tx1"/>
                          </a:solidFill>
                        </a:rPr>
                        <a:t>Undervisningsmateriell</a:t>
                      </a:r>
                      <a:endParaRPr lang="en-US" sz="1400">
                        <a:solidFill>
                          <a:schemeClr val="tx1"/>
                        </a:solidFill>
                      </a:endParaRP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nb-NO" sz="1400" b="0" i="0" u="none">
                          <a:solidFill>
                            <a:schemeClr val="tx1"/>
                          </a:solidFill>
                        </a:rPr>
                        <a:t>6585</a:t>
                      </a:r>
                      <a:r>
                        <a:rPr lang="nb-NO" sz="140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nb-NO" sz="1400" b="0" i="0" u="none">
                          <a:solidFill>
                            <a:schemeClr val="tx1"/>
                          </a:solidFill>
                        </a:rPr>
                        <a:t>Driftsrekvisita</a:t>
                      </a:r>
                      <a:r>
                        <a:rPr lang="nb-NO" sz="1400">
                          <a:solidFill>
                            <a:schemeClr val="tx1"/>
                          </a:solidFill>
                        </a:rPr>
                        <a:t> </a:t>
                      </a:r>
                      <a:endParaRPr lang="en-US" sz="1400">
                        <a:solidFill>
                          <a:schemeClr val="tx1"/>
                        </a:solidFill>
                      </a:endParaRPr>
                    </a:p>
                    <a:p>
                      <a:endParaRPr lang="nb-NO" sz="14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nb-NO" sz="1400"/>
                        <a:t>6861 Servering ved møter, Catering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nb-NO" sz="1400"/>
                        <a:t>4301 Innkjøp av varer for videresalg fradragsberettiget Eks Butikk VM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2927678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246161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B3E24112-F6BC-4914-8726-DF8C6E3520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159" y="150093"/>
            <a:ext cx="8491682" cy="525401"/>
          </a:xfrm>
        </p:spPr>
        <p:txBody>
          <a:bodyPr/>
          <a:lstStyle/>
          <a:p>
            <a:r>
              <a:rPr lang="nb-NO" sz="2800" err="1"/>
              <a:t>Mva</a:t>
            </a:r>
            <a:r>
              <a:rPr lang="nb-NO" sz="2800"/>
              <a:t> - koder i Unit4 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7914D870-766B-0E73-5D7B-C037B65B4AE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920551"/>
            <a:ext cx="8229600" cy="3794443"/>
          </a:xfrm>
        </p:spPr>
        <p:txBody>
          <a:bodyPr/>
          <a:lstStyle/>
          <a:p>
            <a:pPr marL="0" indent="0">
              <a:buNone/>
            </a:pPr>
            <a:r>
              <a:rPr lang="nb-NO"/>
              <a:t>Kostnader og investeringer (kjøp av VARER)</a:t>
            </a:r>
          </a:p>
          <a:p>
            <a:pPr marL="0" indent="0">
              <a:buNone/>
            </a:pPr>
            <a:r>
              <a:rPr lang="nb-NO" sz="1200"/>
              <a:t>Varer er fysiske og registreres/deklareres når de krysser grensa. NTNU må selv legge på avgiftskode for påslag. </a:t>
            </a:r>
            <a:r>
              <a:rPr lang="nb-NO" sz="1200" err="1"/>
              <a:t>Mva</a:t>
            </a:r>
            <a:r>
              <a:rPr lang="nb-NO" sz="1200"/>
              <a:t> kode på innkjøpsordre</a:t>
            </a:r>
          </a:p>
          <a:p>
            <a:pPr marL="0" indent="0">
              <a:buNone/>
            </a:pPr>
            <a:br>
              <a:rPr lang="nb-NO" sz="1200"/>
            </a:br>
            <a:r>
              <a:rPr lang="nb-NO" sz="1200"/>
              <a:t>Innkjøpsforespørsel UTENLANDSKE  leverandører</a:t>
            </a:r>
          </a:p>
          <a:p>
            <a:endParaRPr lang="nb-NO"/>
          </a:p>
        </p:txBody>
      </p:sp>
      <p:graphicFrame>
        <p:nvGraphicFramePr>
          <p:cNvPr id="4" name="Tabell 4">
            <a:extLst>
              <a:ext uri="{FF2B5EF4-FFF2-40B4-BE49-F238E27FC236}">
                <a16:creationId xmlns:a16="http://schemas.microsoft.com/office/drawing/2014/main" id="{AFBC8FD7-8707-4C11-04C8-B2B48184CE0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8840708"/>
              </p:ext>
            </p:extLst>
          </p:nvPr>
        </p:nvGraphicFramePr>
        <p:xfrm>
          <a:off x="559339" y="2279571"/>
          <a:ext cx="5578812" cy="2680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7576">
                  <a:extLst>
                    <a:ext uri="{9D8B030D-6E8A-4147-A177-3AD203B41FA5}">
                      <a16:colId xmlns:a16="http://schemas.microsoft.com/office/drawing/2014/main" val="859919018"/>
                    </a:ext>
                  </a:extLst>
                </a:gridCol>
                <a:gridCol w="1403950">
                  <a:extLst>
                    <a:ext uri="{9D8B030D-6E8A-4147-A177-3AD203B41FA5}">
                      <a16:colId xmlns:a16="http://schemas.microsoft.com/office/drawing/2014/main" val="3466835718"/>
                    </a:ext>
                  </a:extLst>
                </a:gridCol>
                <a:gridCol w="1115762">
                  <a:extLst>
                    <a:ext uri="{9D8B030D-6E8A-4147-A177-3AD203B41FA5}">
                      <a16:colId xmlns:a16="http://schemas.microsoft.com/office/drawing/2014/main" val="2856119189"/>
                    </a:ext>
                  </a:extLst>
                </a:gridCol>
                <a:gridCol w="1115762">
                  <a:extLst>
                    <a:ext uri="{9D8B030D-6E8A-4147-A177-3AD203B41FA5}">
                      <a16:colId xmlns:a16="http://schemas.microsoft.com/office/drawing/2014/main" val="3594469920"/>
                    </a:ext>
                  </a:extLst>
                </a:gridCol>
                <a:gridCol w="1115762">
                  <a:extLst>
                    <a:ext uri="{9D8B030D-6E8A-4147-A177-3AD203B41FA5}">
                      <a16:colId xmlns:a16="http://schemas.microsoft.com/office/drawing/2014/main" val="239138499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VA - KODE Unit 4</a:t>
                      </a:r>
                    </a:p>
                  </a:txBody>
                  <a:tcPr marL="7144" marR="7144" marT="7144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orklaring</a:t>
                      </a:r>
                    </a:p>
                  </a:txBody>
                  <a:tcPr marL="7144" marR="7144" marT="7144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ksempel </a:t>
                      </a:r>
                    </a:p>
                  </a:txBody>
                  <a:tcPr marL="7144" marR="7144" marT="7144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Gammel MVA- kode</a:t>
                      </a:r>
                    </a:p>
                  </a:txBody>
                  <a:tcPr marL="7144" marR="7144" marT="7144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ommentar</a:t>
                      </a:r>
                    </a:p>
                  </a:txBody>
                  <a:tcPr marL="7144" marR="7144" marT="7144" marB="0"/>
                </a:tc>
                <a:extLst>
                  <a:ext uri="{0D108BD9-81ED-4DB2-BD59-A6C34878D82A}">
                    <a16:rowId xmlns:a16="http://schemas.microsoft.com/office/drawing/2014/main" val="1632132931"/>
                  </a:ext>
                </a:extLst>
              </a:tr>
              <a:tr h="387045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nb-NO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Import av varer med påslag av 25% MVA uten fradragsrett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rdinære kjøp til egen bruk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endParaRPr lang="nb-NO" sz="140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4095983205"/>
                  </a:ext>
                </a:extLst>
              </a:tr>
              <a:tr h="387045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nb-NO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Import av varer med påslag av 15% MVA uten fradragsrett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mport av matvarer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Y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VA KODE  lite aktuell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3078828569"/>
                  </a:ext>
                </a:extLst>
              </a:tr>
              <a:tr h="387045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nb-NO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Import av varer med fradragsrett for påslag av 25%  MVA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mport av varer til direkte videresalg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VA KODE  lite aktuell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3989573286"/>
                  </a:ext>
                </a:extLst>
              </a:tr>
              <a:tr h="387045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nb-NO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Import av varer med  fradragsrett for påslag av 15% MVA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mport av mat til direkte videresalg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Y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VA KODE  lite aktuell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3338069263"/>
                  </a:ext>
                </a:extLst>
              </a:tr>
              <a:tr h="371252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nb-NO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Import av varer fritatt MVA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øker til egen bruk og biologisk materiale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endParaRPr lang="nb-NO" sz="800" b="0" i="0" u="none" strike="noStrike" kern="12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621626616"/>
                  </a:ext>
                </a:extLst>
              </a:tr>
              <a:tr h="510064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jøp av varer uten norsk MVA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kke til bruk i Norge. Eks. mindre driftsrekvisita som forbrukes i utlandet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Y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endParaRPr lang="nb-NO" sz="140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8869702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0754695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83CDAFB0-6884-63AA-F85D-7180DFEC83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1731" y="262890"/>
            <a:ext cx="7615382" cy="525401"/>
          </a:xfrm>
        </p:spPr>
        <p:txBody>
          <a:bodyPr/>
          <a:lstStyle/>
          <a:p>
            <a:r>
              <a:rPr lang="nb-NO" sz="2800" err="1"/>
              <a:t>Mva</a:t>
            </a:r>
            <a:r>
              <a:rPr lang="nb-NO" sz="2800"/>
              <a:t> - koder i Unit4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43E792AB-BA3A-F0F6-8DEC-CA3286E0038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0000" tIns="46800" rIns="90000" bIns="46800" rtlCol="0" anchor="t">
            <a:noAutofit/>
          </a:bodyPr>
          <a:lstStyle/>
          <a:p>
            <a:pPr marL="0" indent="0">
              <a:buNone/>
            </a:pPr>
            <a:r>
              <a:rPr lang="nb-NO" sz="1200"/>
              <a:t>Kostnader (kjøp av TJENESTER)</a:t>
            </a:r>
          </a:p>
          <a:p>
            <a:pPr lvl="1"/>
            <a:r>
              <a:rPr lang="nb-NO" sz="1050"/>
              <a:t>Tjenester er ikke fysiske og NTNU må selv håndtere norsk MVA-påslag. </a:t>
            </a:r>
            <a:r>
              <a:rPr lang="nb-NO" sz="1050" err="1"/>
              <a:t>Mva</a:t>
            </a:r>
            <a:r>
              <a:rPr lang="nb-NO" sz="1050"/>
              <a:t> kode på innkjøpsordre</a:t>
            </a:r>
          </a:p>
          <a:p>
            <a:pPr lvl="2"/>
            <a:r>
              <a:rPr lang="nb-NO" sz="900"/>
              <a:t>Eks:</a:t>
            </a:r>
          </a:p>
          <a:p>
            <a:pPr lvl="3"/>
            <a:r>
              <a:rPr lang="nb-NO" sz="900"/>
              <a:t>Språkvask</a:t>
            </a:r>
          </a:p>
          <a:p>
            <a:pPr lvl="3"/>
            <a:r>
              <a:rPr lang="nb-NO" sz="900"/>
              <a:t>Publisering</a:t>
            </a:r>
          </a:p>
          <a:p>
            <a:pPr lvl="3"/>
            <a:r>
              <a:rPr lang="nb-NO" sz="900"/>
              <a:t>Programvare</a:t>
            </a:r>
          </a:p>
          <a:p>
            <a:pPr marL="0" indent="0">
              <a:buNone/>
            </a:pPr>
            <a:br>
              <a:rPr lang="nb-NO" sz="1200"/>
            </a:br>
            <a:r>
              <a:rPr lang="nb-NO" sz="1200"/>
              <a:t>Innkjøpsforespørsel UTENLANDSKE  leverandører</a:t>
            </a:r>
          </a:p>
          <a:p>
            <a:endParaRPr lang="nb-NO"/>
          </a:p>
        </p:txBody>
      </p:sp>
      <p:graphicFrame>
        <p:nvGraphicFramePr>
          <p:cNvPr id="4" name="Tabell 4">
            <a:extLst>
              <a:ext uri="{FF2B5EF4-FFF2-40B4-BE49-F238E27FC236}">
                <a16:creationId xmlns:a16="http://schemas.microsoft.com/office/drawing/2014/main" id="{9E83B0EC-6822-BCCE-AF80-BD1DD2F64D1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20204621"/>
              </p:ext>
            </p:extLst>
          </p:nvPr>
        </p:nvGraphicFramePr>
        <p:xfrm>
          <a:off x="568004" y="2743606"/>
          <a:ext cx="5584741" cy="16116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37643">
                  <a:extLst>
                    <a:ext uri="{9D8B030D-6E8A-4147-A177-3AD203B41FA5}">
                      <a16:colId xmlns:a16="http://schemas.microsoft.com/office/drawing/2014/main" val="1929685497"/>
                    </a:ext>
                  </a:extLst>
                </a:gridCol>
                <a:gridCol w="1206230">
                  <a:extLst>
                    <a:ext uri="{9D8B030D-6E8A-4147-A177-3AD203B41FA5}">
                      <a16:colId xmlns:a16="http://schemas.microsoft.com/office/drawing/2014/main" val="1858226256"/>
                    </a:ext>
                  </a:extLst>
                </a:gridCol>
                <a:gridCol w="1561289">
                  <a:extLst>
                    <a:ext uri="{9D8B030D-6E8A-4147-A177-3AD203B41FA5}">
                      <a16:colId xmlns:a16="http://schemas.microsoft.com/office/drawing/2014/main" val="33695629"/>
                    </a:ext>
                  </a:extLst>
                </a:gridCol>
                <a:gridCol w="710120">
                  <a:extLst>
                    <a:ext uri="{9D8B030D-6E8A-4147-A177-3AD203B41FA5}">
                      <a16:colId xmlns:a16="http://schemas.microsoft.com/office/drawing/2014/main" val="3324850170"/>
                    </a:ext>
                  </a:extLst>
                </a:gridCol>
                <a:gridCol w="1269459">
                  <a:extLst>
                    <a:ext uri="{9D8B030D-6E8A-4147-A177-3AD203B41FA5}">
                      <a16:colId xmlns:a16="http://schemas.microsoft.com/office/drawing/2014/main" val="408314104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l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800" b="1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MVA - KODE Unit 4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nb-NO" sz="800" b="1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Forklaring</a:t>
                      </a:r>
                    </a:p>
                  </a:txBody>
                  <a:tcPr marL="7144" marR="7144" marT="7144" marB="0"/>
                </a:tc>
                <a:tc>
                  <a:txBody>
                    <a:bodyPr/>
                    <a:lstStyle/>
                    <a:p>
                      <a:pPr marL="0" algn="l" rtl="0" eaLnBrk="1" fontAlgn="b" latinLnBrk="0" hangingPunct="1"/>
                      <a:r>
                        <a:rPr lang="nb-NO" sz="800" b="1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Eksempel </a:t>
                      </a:r>
                      <a:endParaRPr lang="nb-NO" sz="800" b="1" i="0" u="none" strike="noStrike" kern="12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144" marR="7144" marT="7144" marB="0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nb-NO" sz="800" b="1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Gammel MVA- kode</a:t>
                      </a:r>
                    </a:p>
                  </a:txBody>
                  <a:tcPr marL="7144" marR="7144" marT="7144" marB="0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nb-NO" sz="800" b="1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Kommentar</a:t>
                      </a:r>
                    </a:p>
                  </a:txBody>
                  <a:tcPr marL="7144" marR="7144" marT="7144" marB="0"/>
                </a:tc>
                <a:extLst>
                  <a:ext uri="{0D108BD9-81ED-4DB2-BD59-A6C34878D82A}">
                    <a16:rowId xmlns:a16="http://schemas.microsoft.com/office/drawing/2014/main" val="1811454627"/>
                  </a:ext>
                </a:extLst>
              </a:tr>
              <a:tr h="433061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T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Kjøp av tjenester med påslag av 25% MVA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ks. programvare, lisenser, språkvask til egen bruk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U8_UTL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endParaRPr lang="nb-NO" sz="140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44747182"/>
                  </a:ext>
                </a:extLst>
              </a:tr>
              <a:tr h="433061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F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Kjøp av tjenester med fradrag for påslag av 25% MVA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ks. programvare, lisenser, språkvask til direkte videresalg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Y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marL="0" algn="l" rtl="0" eaLnBrk="1" fontAlgn="b" latinLnBrk="0" hangingPunct="1"/>
                      <a:r>
                        <a:rPr lang="nb-NO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MVA KODE  lite aktuell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819538762"/>
                  </a:ext>
                </a:extLst>
              </a:tr>
              <a:tr h="433061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Kjøp av tjenester uten norsk MVA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Ikke til bruk i Norge. Eks. konferanser/overnatting i utlandet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Y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endParaRPr lang="nb-NO" sz="140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33948366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9366310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7E0DFB2F-E9C9-62BC-9B49-D28DDE0D08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825" y="121393"/>
            <a:ext cx="7615382" cy="648512"/>
          </a:xfrm>
        </p:spPr>
        <p:txBody>
          <a:bodyPr/>
          <a:lstStyle/>
          <a:p>
            <a:r>
              <a:rPr lang="nb-NO" err="1"/>
              <a:t>Beslutningstre</a:t>
            </a:r>
            <a:r>
              <a:rPr lang="nb-NO"/>
              <a:t> kjøp fra utlandet</a:t>
            </a:r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F9003E7A-3C7B-3CB7-E682-17420CAE6BF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68711644"/>
              </p:ext>
            </p:extLst>
          </p:nvPr>
        </p:nvGraphicFramePr>
        <p:xfrm>
          <a:off x="-166223" y="1122665"/>
          <a:ext cx="8333478" cy="334051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68290491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1AAF6F09-A3B9-152B-D2F1-B323F3AB6B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540" y="128741"/>
            <a:ext cx="9014460" cy="494624"/>
          </a:xfrm>
        </p:spPr>
        <p:txBody>
          <a:bodyPr/>
          <a:lstStyle/>
          <a:p>
            <a:r>
              <a:rPr lang="nb-NO" sz="2600"/>
              <a:t>Eksempel på </a:t>
            </a:r>
            <a:r>
              <a:rPr lang="nb-NO" sz="2600" err="1"/>
              <a:t>mva</a:t>
            </a:r>
            <a:r>
              <a:rPr lang="nb-NO" sz="2600"/>
              <a:t>-koder til utenlandske leverandører </a:t>
            </a:r>
          </a:p>
        </p:txBody>
      </p:sp>
      <p:graphicFrame>
        <p:nvGraphicFramePr>
          <p:cNvPr id="4" name="Tabell 4">
            <a:extLst>
              <a:ext uri="{FF2B5EF4-FFF2-40B4-BE49-F238E27FC236}">
                <a16:creationId xmlns:a16="http://schemas.microsoft.com/office/drawing/2014/main" id="{44B2EB96-E71F-5D50-D9CD-D35DB1F86A6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760279609"/>
              </p:ext>
            </p:extLst>
          </p:nvPr>
        </p:nvGraphicFramePr>
        <p:xfrm>
          <a:off x="283961" y="1152095"/>
          <a:ext cx="6887696" cy="3368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32252">
                  <a:extLst>
                    <a:ext uri="{9D8B030D-6E8A-4147-A177-3AD203B41FA5}">
                      <a16:colId xmlns:a16="http://schemas.microsoft.com/office/drawing/2014/main" val="3451335583"/>
                    </a:ext>
                  </a:extLst>
                </a:gridCol>
                <a:gridCol w="1932495">
                  <a:extLst>
                    <a:ext uri="{9D8B030D-6E8A-4147-A177-3AD203B41FA5}">
                      <a16:colId xmlns:a16="http://schemas.microsoft.com/office/drawing/2014/main" val="2419487018"/>
                    </a:ext>
                  </a:extLst>
                </a:gridCol>
                <a:gridCol w="1593130">
                  <a:extLst>
                    <a:ext uri="{9D8B030D-6E8A-4147-A177-3AD203B41FA5}">
                      <a16:colId xmlns:a16="http://schemas.microsoft.com/office/drawing/2014/main" val="3307735632"/>
                    </a:ext>
                  </a:extLst>
                </a:gridCol>
                <a:gridCol w="1729819">
                  <a:extLst>
                    <a:ext uri="{9D8B030D-6E8A-4147-A177-3AD203B41FA5}">
                      <a16:colId xmlns:a16="http://schemas.microsoft.com/office/drawing/2014/main" val="3873182950"/>
                    </a:ext>
                  </a:extLst>
                </a:gridCol>
              </a:tblGrid>
              <a:tr h="72009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>
                          <a:solidFill>
                            <a:schemeClr val="tx1"/>
                          </a:solidFill>
                        </a:rPr>
                        <a:t>MVA-</a:t>
                      </a:r>
                      <a:r>
                        <a:rPr lang="en-US" sz="1400" err="1">
                          <a:solidFill>
                            <a:schemeClr val="tx1"/>
                          </a:solidFill>
                        </a:rPr>
                        <a:t>kode</a:t>
                      </a:r>
                      <a:r>
                        <a:rPr lang="en-US" sz="1400">
                          <a:solidFill>
                            <a:schemeClr val="tx1"/>
                          </a:solidFill>
                        </a:rPr>
                        <a:t> 20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8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lang="nb-NO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Import av varer med påslag av 25% MVA uten fradragsrett)</a:t>
                      </a:r>
                    </a:p>
                    <a:p>
                      <a:endParaRPr lang="nb-NO" sz="140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>
                          <a:solidFill>
                            <a:schemeClr val="tx1"/>
                          </a:solidFill>
                        </a:rPr>
                        <a:t>MVA-</a:t>
                      </a:r>
                      <a:r>
                        <a:rPr lang="en-US" sz="1400" err="1">
                          <a:solidFill>
                            <a:schemeClr val="tx1"/>
                          </a:solidFill>
                        </a:rPr>
                        <a:t>kode</a:t>
                      </a:r>
                      <a:r>
                        <a:rPr lang="en-US" sz="1400">
                          <a:solidFill>
                            <a:schemeClr val="tx1"/>
                          </a:solidFill>
                        </a:rPr>
                        <a:t> 3T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8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Kjøp av tjenester med påslag av 25% MVA)</a:t>
                      </a:r>
                    </a:p>
                    <a:p>
                      <a:endParaRPr lang="nb-NO" sz="140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VA-</a:t>
                      </a:r>
                      <a:r>
                        <a:rPr lang="en-US" sz="1400" b="1" kern="120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ode</a:t>
                      </a:r>
                      <a:r>
                        <a:rPr lang="en-US" sz="14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23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8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Import av varer fritatt MVA)</a:t>
                      </a:r>
                    </a:p>
                    <a:p>
                      <a:endParaRPr lang="nb-NO" sz="800" b="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>
                          <a:solidFill>
                            <a:schemeClr val="tx1"/>
                          </a:solidFill>
                        </a:rPr>
                        <a:t>MVA-</a:t>
                      </a:r>
                      <a:r>
                        <a:rPr lang="en-US" sz="1400" err="1">
                          <a:solidFill>
                            <a:schemeClr val="tx1"/>
                          </a:solidFill>
                        </a:rPr>
                        <a:t>kode</a:t>
                      </a:r>
                      <a:r>
                        <a:rPr lang="en-US" sz="1400">
                          <a:solidFill>
                            <a:schemeClr val="tx1"/>
                          </a:solidFill>
                        </a:rPr>
                        <a:t> 0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8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Kjøp av tjenester uten norsk MVA)</a:t>
                      </a:r>
                    </a:p>
                    <a:p>
                      <a:endParaRPr lang="nb-NO" sz="140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748335778"/>
                  </a:ext>
                </a:extLst>
              </a:tr>
              <a:tr h="2537460">
                <a:tc>
                  <a:txBody>
                    <a:bodyPr/>
                    <a:lstStyle/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nb-NO" sz="1400" b="0" i="0" u="none"/>
                        <a:t>6580</a:t>
                      </a:r>
                      <a:r>
                        <a:rPr lang="nb-NO" sz="1400"/>
                        <a:t> </a:t>
                      </a:r>
                      <a:r>
                        <a:rPr lang="nb-NO" sz="1400" b="0" i="0" u="none"/>
                        <a:t>Forbruks- og driftsmateriell , lab./verksted</a:t>
                      </a:r>
                      <a:endParaRPr lang="en-US" sz="1400"/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nb-NO" sz="1400" b="0" i="0" u="none"/>
                        <a:t>6581</a:t>
                      </a:r>
                      <a:r>
                        <a:rPr lang="nb-NO" sz="1400"/>
                        <a:t> </a:t>
                      </a:r>
                      <a:r>
                        <a:rPr lang="nb-NO" sz="1400" b="0" i="0" u="none"/>
                        <a:t>Gass og kjemikalier</a:t>
                      </a:r>
                      <a:endParaRPr lang="en-US" sz="1400"/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nb-NO" sz="1400" b="0" i="0" u="none"/>
                        <a:t>6583</a:t>
                      </a:r>
                      <a:r>
                        <a:rPr lang="nb-NO" sz="1400"/>
                        <a:t> </a:t>
                      </a:r>
                      <a:r>
                        <a:rPr lang="nb-NO" sz="1400" b="0" i="0" u="none"/>
                        <a:t>Undervisningsmateriell</a:t>
                      </a:r>
                      <a:endParaRPr lang="en-US" sz="1400"/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nb-NO" sz="1400" b="0" i="0" u="none"/>
                        <a:t>6585</a:t>
                      </a:r>
                      <a:r>
                        <a:rPr lang="nb-NO" sz="1400"/>
                        <a:t> </a:t>
                      </a:r>
                      <a:r>
                        <a:rPr lang="nb-NO" sz="1400" b="0" i="0" u="none"/>
                        <a:t>Driftsrekvisita</a:t>
                      </a:r>
                      <a:r>
                        <a:rPr lang="nb-NO" sz="1400"/>
                        <a:t> </a:t>
                      </a:r>
                    </a:p>
                    <a:p>
                      <a:endParaRPr lang="nb-NO" sz="14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nb-NO" sz="1400" b="0" i="0" u="none"/>
                        <a:t>6730</a:t>
                      </a:r>
                      <a:r>
                        <a:rPr lang="nb-NO" sz="1400"/>
                        <a:t> </a:t>
                      </a:r>
                      <a:r>
                        <a:rPr lang="nb-NO" sz="1400" b="0" i="0" u="none"/>
                        <a:t>Andre konsulenttjenester*</a:t>
                      </a:r>
                      <a:endParaRPr lang="en-US" sz="1400"/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nb-NO" sz="1400" b="0" i="0" u="none"/>
                        <a:t>6790</a:t>
                      </a:r>
                      <a:r>
                        <a:rPr lang="nb-NO" sz="1400"/>
                        <a:t> </a:t>
                      </a:r>
                      <a:r>
                        <a:rPr lang="nb-NO" sz="1400" b="0" i="0" u="none"/>
                        <a:t>Kjøp forsknings- og lab tjenester</a:t>
                      </a:r>
                      <a:endParaRPr lang="en-US" sz="1400"/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nb-NO" sz="1400" b="0" i="0" u="none"/>
                        <a:t>6821</a:t>
                      </a:r>
                      <a:r>
                        <a:rPr lang="nb-NO" sz="1400"/>
                        <a:t> </a:t>
                      </a:r>
                      <a:r>
                        <a:rPr lang="nb-NO" sz="1400" b="0" i="0" u="none"/>
                        <a:t>Publiseringsavgift</a:t>
                      </a:r>
                      <a:r>
                        <a:rPr lang="nb-NO" sz="1400"/>
                        <a:t>  </a:t>
                      </a:r>
                      <a:endParaRPr lang="en-US" sz="1400"/>
                    </a:p>
                    <a:p>
                      <a:endParaRPr lang="nb-NO" sz="14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nb-NO" sz="1400" b="0" i="0" u="none"/>
                        <a:t>6843</a:t>
                      </a:r>
                      <a:r>
                        <a:rPr lang="nb-NO" sz="1400"/>
                        <a:t> </a:t>
                      </a:r>
                      <a:r>
                        <a:rPr lang="nb-NO" sz="1400" b="0" i="0" u="none"/>
                        <a:t>Bøker</a:t>
                      </a:r>
                      <a:endParaRPr lang="en-US" sz="1400"/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nb-NO" sz="1400" b="0" i="0" u="none"/>
                        <a:t>6582</a:t>
                      </a:r>
                      <a:r>
                        <a:rPr lang="nb-NO" sz="1400"/>
                        <a:t> </a:t>
                      </a:r>
                      <a:r>
                        <a:rPr lang="nb-NO" sz="1400" b="0" i="0" u="none"/>
                        <a:t>Organisk materiale</a:t>
                      </a:r>
                      <a:r>
                        <a:rPr lang="nb-NO" sz="1400"/>
                        <a:t>  </a:t>
                      </a:r>
                      <a:endParaRPr lang="en-US" sz="1400"/>
                    </a:p>
                    <a:p>
                      <a:endParaRPr lang="nb-NO" sz="14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285750" lvl="0" indent="-285750" algn="l" defTabSz="4572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nb-NO" sz="1400" b="0" i="0" u="none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870 Deltakeravgifter for kurs og seminar, egne ansatte i utlandet</a:t>
                      </a:r>
                      <a:endParaRPr lang="en-US" sz="1400" b="0" i="0" u="none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lvl="0" indent="-285750" algn="l" defTabSz="4572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nb-NO" sz="1400" b="0" i="0" u="none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844 E-bøker</a:t>
                      </a:r>
                    </a:p>
                    <a:p>
                      <a:pPr marL="285750" lvl="0" indent="-285750" algn="l" defTabSz="457200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nb-NO" sz="1400" b="0" i="0" u="none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068755119"/>
                  </a:ext>
                </a:extLst>
              </a:tr>
            </a:tbl>
          </a:graphicData>
        </a:graphic>
      </p:graphicFrame>
      <p:sp>
        <p:nvSpPr>
          <p:cNvPr id="6" name="Rektangel 5">
            <a:extLst>
              <a:ext uri="{FF2B5EF4-FFF2-40B4-BE49-F238E27FC236}">
                <a16:creationId xmlns:a16="http://schemas.microsoft.com/office/drawing/2014/main" id="{6D3BC7E6-F334-BC8F-3241-8C1A8B9DF881}"/>
              </a:ext>
            </a:extLst>
          </p:cNvPr>
          <p:cNvSpPr/>
          <p:nvPr/>
        </p:nvSpPr>
        <p:spPr>
          <a:xfrm>
            <a:off x="2085045" y="4520134"/>
            <a:ext cx="1798023" cy="623365"/>
          </a:xfrm>
          <a:prstGeom prst="rect">
            <a:avLst/>
          </a:prstGeom>
          <a:noFill/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 sz="600">
                <a:solidFill>
                  <a:schemeClr val="tx1"/>
                </a:solidFill>
              </a:rPr>
              <a:t>* På oppdragsprosjekt kan innkjøp av konsulenttjenester i noen tilfeller være fradragsberettiget, da vil kode 3F være riktig å bruke</a:t>
            </a:r>
          </a:p>
        </p:txBody>
      </p:sp>
    </p:spTree>
    <p:extLst>
      <p:ext uri="{BB962C8B-B14F-4D97-AF65-F5344CB8AC3E}">
        <p14:creationId xmlns:p14="http://schemas.microsoft.com/office/powerpoint/2010/main" val="36005807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CBA7CD-CB59-4B93-883D-65CBF05ED4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2810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CBA7CD-CB59-4B93-883D-65CBF05ED4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97A77EE-7428-4BA9-B2B1-D73C5881D7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Agenda</a:t>
            </a:r>
          </a:p>
        </p:txBody>
      </p:sp>
      <p:graphicFrame>
        <p:nvGraphicFramePr>
          <p:cNvPr id="4" name="Table 6">
            <a:extLst>
              <a:ext uri="{FF2B5EF4-FFF2-40B4-BE49-F238E27FC236}">
                <a16:creationId xmlns:a16="http://schemas.microsoft.com/office/drawing/2014/main" id="{6BC5C563-D417-42F7-85F7-ECCA2B7AB6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50475978"/>
              </p:ext>
            </p:extLst>
          </p:nvPr>
        </p:nvGraphicFramePr>
        <p:xfrm>
          <a:off x="423867" y="1041004"/>
          <a:ext cx="8106357" cy="3648009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106357">
                  <a:extLst>
                    <a:ext uri="{9D8B030D-6E8A-4147-A177-3AD203B41FA5}">
                      <a16:colId xmlns:a16="http://schemas.microsoft.com/office/drawing/2014/main" val="1601383899"/>
                    </a:ext>
                  </a:extLst>
                </a:gridCol>
              </a:tblGrid>
              <a:tr h="357149">
                <a:tc>
                  <a:txBody>
                    <a:bodyPr/>
                    <a:lstStyle/>
                    <a:p>
                      <a:r>
                        <a:rPr lang="nb-NO" sz="1400" b="1">
                          <a:solidFill>
                            <a:schemeClr val="bg1"/>
                          </a:solidFill>
                        </a:rPr>
                        <a:t>Oppsummering av BOTT E-læring</a:t>
                      </a:r>
                    </a:p>
                  </a:txBody>
                  <a:tcPr>
                    <a:solidFill>
                      <a:srgbClr val="01469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7801232"/>
                  </a:ext>
                </a:extLst>
              </a:tr>
              <a:tr h="414523">
                <a:tc>
                  <a:txBody>
                    <a:bodyPr/>
                    <a:lstStyle/>
                    <a:p>
                      <a:r>
                        <a:rPr lang="nb-NO" sz="1400" b="1" i="0"/>
                        <a:t>Hovedforskjeller fra dagens løsning</a:t>
                      </a:r>
                      <a:endParaRPr lang="nb-NO" sz="1400" b="0" i="1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878283"/>
                  </a:ext>
                </a:extLst>
              </a:tr>
              <a:tr h="405269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nb-NO" sz="1400" b="1" i="0"/>
                        <a:t>Om ny økonomimodell – hva betyr det for deg som fagrekvirent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1896127"/>
                  </a:ext>
                </a:extLst>
              </a:tr>
              <a:tr h="416672">
                <a:tc>
                  <a:txBody>
                    <a:bodyPr/>
                    <a:lstStyle/>
                    <a:p>
                      <a:r>
                        <a:rPr lang="nb-NO" sz="1400" b="1" i="0"/>
                        <a:t>Mer om </a:t>
                      </a:r>
                      <a:r>
                        <a:rPr lang="nb-NO" sz="1400" b="1" i="0" err="1"/>
                        <a:t>mva</a:t>
                      </a:r>
                      <a:r>
                        <a:rPr lang="nb-NO" sz="1400" b="1" i="0"/>
                        <a:t> 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5042368"/>
                  </a:ext>
                </a:extLst>
              </a:tr>
              <a:tr h="416672">
                <a:tc>
                  <a:txBody>
                    <a:bodyPr/>
                    <a:lstStyle/>
                    <a:p>
                      <a:r>
                        <a:rPr lang="nb-NO" sz="1400" b="1" i="0"/>
                        <a:t>Nye begreper / Terminologi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311385"/>
                  </a:ext>
                </a:extLst>
              </a:tr>
              <a:tr h="616555">
                <a:tc>
                  <a:txBody>
                    <a:bodyPr/>
                    <a:lstStyle/>
                    <a:p>
                      <a:r>
                        <a:rPr lang="nb-NO" sz="1400" b="1" i="0"/>
                        <a:t>Kort demo av Unit4 ERP – opprette innkjøpsforespørsel og utføre vare-/tjenestemottak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3655383"/>
                  </a:ext>
                </a:extLst>
              </a:tr>
              <a:tr h="523552">
                <a:tc>
                  <a:txBody>
                    <a:bodyPr/>
                    <a:lstStyle/>
                    <a:p>
                      <a:r>
                        <a:rPr lang="nb-NO" sz="1400" b="1" i="0"/>
                        <a:t>Hva skjer videre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32332376"/>
                  </a:ext>
                </a:extLst>
              </a:tr>
              <a:tr h="497617">
                <a:tc>
                  <a:txBody>
                    <a:bodyPr/>
                    <a:lstStyle/>
                    <a:p>
                      <a:r>
                        <a:rPr lang="nb-NO" sz="1400" b="1" i="0"/>
                        <a:t>Spørsmål og svar</a:t>
                      </a:r>
                      <a:endParaRPr lang="nb-NO" sz="1400" b="0" i="1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990884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7675190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CBA7CD-CB59-4B93-883D-65CBF05ED4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CBA7CD-CB59-4B93-883D-65CBF05ED4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97A77EE-7428-4BA9-B2B1-D73C5881D7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Agenda</a:t>
            </a:r>
          </a:p>
        </p:txBody>
      </p:sp>
      <p:graphicFrame>
        <p:nvGraphicFramePr>
          <p:cNvPr id="4" name="Table 6">
            <a:extLst>
              <a:ext uri="{FF2B5EF4-FFF2-40B4-BE49-F238E27FC236}">
                <a16:creationId xmlns:a16="http://schemas.microsoft.com/office/drawing/2014/main" id="{6BC5C563-D417-42F7-85F7-ECCA2B7AB6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80154454"/>
              </p:ext>
            </p:extLst>
          </p:nvPr>
        </p:nvGraphicFramePr>
        <p:xfrm>
          <a:off x="362626" y="1053530"/>
          <a:ext cx="8418747" cy="3648009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070910">
                  <a:extLst>
                    <a:ext uri="{9D8B030D-6E8A-4147-A177-3AD203B41FA5}">
                      <a16:colId xmlns:a16="http://schemas.microsoft.com/office/drawing/2014/main" val="1601383899"/>
                    </a:ext>
                  </a:extLst>
                </a:gridCol>
                <a:gridCol w="1347837">
                  <a:extLst>
                    <a:ext uri="{9D8B030D-6E8A-4147-A177-3AD203B41FA5}">
                      <a16:colId xmlns:a16="http://schemas.microsoft.com/office/drawing/2014/main" val="694349209"/>
                    </a:ext>
                  </a:extLst>
                </a:gridCol>
              </a:tblGrid>
              <a:tr h="357149">
                <a:tc>
                  <a:txBody>
                    <a:bodyPr/>
                    <a:lstStyle/>
                    <a:p>
                      <a:r>
                        <a:rPr lang="nb-NO" sz="1400" b="1">
                          <a:solidFill>
                            <a:schemeClr val="tx1"/>
                          </a:solidFill>
                        </a:rPr>
                        <a:t>Oppsummering av BOTT E-læring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>
                          <a:solidFill>
                            <a:schemeClr val="tx1"/>
                          </a:solidFill>
                        </a:rPr>
                        <a:t>15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7801232"/>
                  </a:ext>
                </a:extLst>
              </a:tr>
              <a:tr h="414523">
                <a:tc>
                  <a:txBody>
                    <a:bodyPr/>
                    <a:lstStyle/>
                    <a:p>
                      <a:r>
                        <a:rPr lang="nb-NO" sz="1400" b="1" i="0"/>
                        <a:t>Hovedforskjeller fra dagens løsning</a:t>
                      </a:r>
                      <a:endParaRPr lang="nb-NO" sz="1400" b="0" i="1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i="0"/>
                        <a:t>15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878283"/>
                  </a:ext>
                </a:extLst>
              </a:tr>
              <a:tr h="405269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nb-NO" sz="1400" b="1" i="0"/>
                        <a:t>Om ny økonomimodell – hva betyr det for deg som fagrekvirent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i="0"/>
                        <a:t>15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1896127"/>
                  </a:ext>
                </a:extLst>
              </a:tr>
              <a:tr h="416672">
                <a:tc>
                  <a:txBody>
                    <a:bodyPr/>
                    <a:lstStyle/>
                    <a:p>
                      <a:r>
                        <a:rPr lang="nb-NO" sz="1400" b="1" i="0"/>
                        <a:t>Mer om </a:t>
                      </a:r>
                      <a:r>
                        <a:rPr lang="nb-NO" sz="1400" b="1" i="0" err="1"/>
                        <a:t>mva</a:t>
                      </a:r>
                      <a:r>
                        <a:rPr lang="nb-NO" sz="1400" b="1" i="0"/>
                        <a:t> 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i="0"/>
                        <a:t>15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5042368"/>
                  </a:ext>
                </a:extLst>
              </a:tr>
              <a:tr h="416672">
                <a:tc>
                  <a:txBody>
                    <a:bodyPr/>
                    <a:lstStyle/>
                    <a:p>
                      <a:r>
                        <a:rPr lang="nb-NO" sz="1400" b="1" i="0">
                          <a:solidFill>
                            <a:schemeClr val="bg1"/>
                          </a:solidFill>
                        </a:rPr>
                        <a:t>Nye begreper / Terminologi</a:t>
                      </a:r>
                    </a:p>
                  </a:txBody>
                  <a:tcPr>
                    <a:solidFill>
                      <a:srgbClr val="01469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i="0">
                          <a:solidFill>
                            <a:schemeClr val="bg1"/>
                          </a:solidFill>
                        </a:rPr>
                        <a:t>  5 min</a:t>
                      </a:r>
                    </a:p>
                  </a:txBody>
                  <a:tcPr>
                    <a:solidFill>
                      <a:srgbClr val="0146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311385"/>
                  </a:ext>
                </a:extLst>
              </a:tr>
              <a:tr h="616555">
                <a:tc>
                  <a:txBody>
                    <a:bodyPr/>
                    <a:lstStyle/>
                    <a:p>
                      <a:r>
                        <a:rPr lang="nb-NO" sz="1400" b="1" i="0"/>
                        <a:t>Kort demo av Unit4 ERP – opprette innkjøpsforespørsel og utføre vare-/tjenestemottak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i="0"/>
                        <a:t>20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3655383"/>
                  </a:ext>
                </a:extLst>
              </a:tr>
              <a:tr h="523552">
                <a:tc>
                  <a:txBody>
                    <a:bodyPr/>
                    <a:lstStyle/>
                    <a:p>
                      <a:r>
                        <a:rPr lang="nb-NO" sz="1400" b="1" i="0"/>
                        <a:t>Hva skjer videre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i="0"/>
                        <a:t>  5 mi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32332376"/>
                  </a:ext>
                </a:extLst>
              </a:tr>
              <a:tr h="497617">
                <a:tc>
                  <a:txBody>
                    <a:bodyPr/>
                    <a:lstStyle/>
                    <a:p>
                      <a:r>
                        <a:rPr lang="nb-NO" sz="1400" b="1" i="0"/>
                        <a:t>Spørsmål og svar</a:t>
                      </a:r>
                      <a:endParaRPr lang="nb-NO" sz="1400" b="0" i="1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i="0"/>
                        <a:t>30 mi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990884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9421513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3">
            <a:extLst>
              <a:ext uri="{FF2B5EF4-FFF2-40B4-BE49-F238E27FC236}">
                <a16:creationId xmlns:a16="http://schemas.microsoft.com/office/drawing/2014/main" id="{044071FA-CC40-5CE5-7230-63E079C76BA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1948714"/>
              </p:ext>
            </p:extLst>
          </p:nvPr>
        </p:nvGraphicFramePr>
        <p:xfrm>
          <a:off x="347729" y="546842"/>
          <a:ext cx="8302752" cy="379609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97061">
                  <a:extLst>
                    <a:ext uri="{9D8B030D-6E8A-4147-A177-3AD203B41FA5}">
                      <a16:colId xmlns:a16="http://schemas.microsoft.com/office/drawing/2014/main" val="3406027728"/>
                    </a:ext>
                  </a:extLst>
                </a:gridCol>
                <a:gridCol w="5605691">
                  <a:extLst>
                    <a:ext uri="{9D8B030D-6E8A-4147-A177-3AD203B41FA5}">
                      <a16:colId xmlns:a16="http://schemas.microsoft.com/office/drawing/2014/main" val="3389980063"/>
                    </a:ext>
                  </a:extLst>
                </a:gridCol>
              </a:tblGrid>
              <a:tr h="299284">
                <a:tc>
                  <a:txBody>
                    <a:bodyPr/>
                    <a:lstStyle/>
                    <a:p>
                      <a:r>
                        <a:rPr lang="nb-NO">
                          <a:solidFill>
                            <a:schemeClr val="bg1"/>
                          </a:solidFill>
                        </a:rPr>
                        <a:t>Begrep</a:t>
                      </a:r>
                      <a:endParaRPr lang="en-US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>
                          <a:solidFill>
                            <a:schemeClr val="bg1"/>
                          </a:solidFill>
                        </a:rPr>
                        <a:t>Forklaring</a:t>
                      </a:r>
                      <a:endParaRPr lang="en-US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91280464"/>
                  </a:ext>
                </a:extLst>
              </a:tr>
              <a:tr h="344381">
                <a:tc>
                  <a:txBody>
                    <a:bodyPr/>
                    <a:lstStyle/>
                    <a:p>
                      <a:r>
                        <a:rPr lang="nb-NO" sz="1100"/>
                        <a:t>Innkjøpsforespørsel</a:t>
                      </a:r>
                      <a:endParaRPr lang="en-US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100"/>
                        <a:t>En</a:t>
                      </a:r>
                      <a:r>
                        <a:rPr lang="nb-NO" sz="1100" baseline="0"/>
                        <a:t> fo</a:t>
                      </a:r>
                      <a:r>
                        <a:rPr lang="nb-NO" sz="1100"/>
                        <a:t>respørsel om bestilling av varer/tjenester i innkjøpsløsningen</a:t>
                      </a:r>
                      <a:endParaRPr lang="en-US" sz="11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5947389"/>
                  </a:ext>
                </a:extLst>
              </a:tr>
              <a:tr h="614967">
                <a:tc>
                  <a:txBody>
                    <a:bodyPr/>
                    <a:lstStyle/>
                    <a:p>
                      <a:r>
                        <a:rPr lang="nb-NO" sz="1100"/>
                        <a:t>Innkjøpsforespørselsnummer</a:t>
                      </a:r>
                      <a:endParaRPr lang="en-US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/>
                        <a:t>Et </a:t>
                      </a:r>
                      <a:r>
                        <a:rPr lang="en-US" sz="1100" err="1"/>
                        <a:t>referansenummer</a:t>
                      </a:r>
                      <a:r>
                        <a:rPr lang="en-US" sz="1100"/>
                        <a:t> </a:t>
                      </a:r>
                      <a:r>
                        <a:rPr lang="en-US" sz="1100" err="1"/>
                        <a:t>som</a:t>
                      </a:r>
                      <a:r>
                        <a:rPr lang="en-US" sz="1100"/>
                        <a:t> </a:t>
                      </a:r>
                      <a:r>
                        <a:rPr lang="en-US" sz="1100" err="1"/>
                        <a:t>genereres</a:t>
                      </a:r>
                      <a:r>
                        <a:rPr lang="en-US" sz="1100"/>
                        <a:t> </a:t>
                      </a:r>
                      <a:r>
                        <a:rPr lang="en-US" sz="1100" err="1"/>
                        <a:t>i</a:t>
                      </a:r>
                      <a:r>
                        <a:rPr lang="en-US" sz="1100"/>
                        <a:t> </a:t>
                      </a:r>
                      <a:r>
                        <a:rPr lang="en-US" sz="1100" err="1"/>
                        <a:t>innkjøpsløsningen</a:t>
                      </a:r>
                      <a:r>
                        <a:rPr lang="en-US" sz="1100"/>
                        <a:t> </a:t>
                      </a:r>
                      <a:r>
                        <a:rPr lang="en-US" sz="1100" err="1"/>
                        <a:t>når</a:t>
                      </a:r>
                      <a:r>
                        <a:rPr lang="en-US" sz="1100"/>
                        <a:t> </a:t>
                      </a:r>
                      <a:r>
                        <a:rPr lang="en-US" sz="1100" err="1"/>
                        <a:t>innkjøpsforespørselen</a:t>
                      </a:r>
                      <a:r>
                        <a:rPr lang="en-US" sz="1100"/>
                        <a:t> </a:t>
                      </a:r>
                      <a:r>
                        <a:rPr lang="en-US" sz="1100" err="1"/>
                        <a:t>sendes</a:t>
                      </a:r>
                      <a:r>
                        <a:rPr lang="en-US" sz="1100" baseline="0"/>
                        <a:t> </a:t>
                      </a:r>
                      <a:r>
                        <a:rPr lang="en-US" sz="1100" baseline="0" err="1"/>
                        <a:t>til</a:t>
                      </a:r>
                      <a:r>
                        <a:rPr lang="en-US" sz="1100" baseline="0"/>
                        <a:t> </a:t>
                      </a:r>
                      <a:r>
                        <a:rPr lang="en-US" sz="1100" baseline="0" err="1"/>
                        <a:t>godkjenning</a:t>
                      </a:r>
                      <a:r>
                        <a:rPr lang="en-US" sz="1100" baseline="0"/>
                        <a:t> </a:t>
                      </a:r>
                      <a:r>
                        <a:rPr lang="en-US" sz="1100" baseline="0" err="1"/>
                        <a:t>eller</a:t>
                      </a:r>
                      <a:r>
                        <a:rPr lang="en-US" sz="1100" baseline="0"/>
                        <a:t> </a:t>
                      </a:r>
                      <a:r>
                        <a:rPr lang="en-US" sz="1100" baseline="0" err="1"/>
                        <a:t>lagres</a:t>
                      </a:r>
                      <a:r>
                        <a:rPr lang="en-US" sz="1100" baseline="0"/>
                        <a:t> </a:t>
                      </a:r>
                      <a:r>
                        <a:rPr lang="en-US" sz="1100" baseline="0" err="1"/>
                        <a:t>som</a:t>
                      </a:r>
                      <a:r>
                        <a:rPr lang="en-US" sz="1100" baseline="0"/>
                        <a:t> </a:t>
                      </a:r>
                      <a:r>
                        <a:rPr lang="en-US" sz="1100" baseline="0" err="1"/>
                        <a:t>utkast</a:t>
                      </a:r>
                      <a:r>
                        <a:rPr lang="en-US" sz="1100" baseline="0"/>
                        <a:t>. </a:t>
                      </a:r>
                      <a:r>
                        <a:rPr lang="en-US" sz="1100" err="1"/>
                        <a:t>Nummerserien</a:t>
                      </a:r>
                      <a:r>
                        <a:rPr lang="en-US" sz="1100"/>
                        <a:t> starter </a:t>
                      </a:r>
                      <a:r>
                        <a:rPr lang="en-US" sz="1100" err="1"/>
                        <a:t>på</a:t>
                      </a:r>
                      <a:r>
                        <a:rPr lang="en-US" sz="1100"/>
                        <a:t> 500000000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608997"/>
                  </a:ext>
                </a:extLst>
              </a:tr>
              <a:tr h="344381">
                <a:tc>
                  <a:txBody>
                    <a:bodyPr/>
                    <a:lstStyle/>
                    <a:p>
                      <a:r>
                        <a:rPr lang="nb-NO" sz="1100"/>
                        <a:t>Innkjøpsordrenummer</a:t>
                      </a:r>
                      <a:endParaRPr lang="en-US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/>
                        <a:t>Et referansenummer som genereres i innkjøpsløsningen når innkjøpsforespørselen er godkjent av kostnadsgodkjenner. Innkjøpsordrenummer sendes til leverandør og må brukes som referanse på faktura. Omtales i systemet som ordrenummer. Nummerserien starter på 600000000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36081729"/>
                  </a:ext>
                </a:extLst>
              </a:tr>
              <a:tr h="299284">
                <a:tc>
                  <a:txBody>
                    <a:bodyPr/>
                    <a:lstStyle/>
                    <a:p>
                      <a:r>
                        <a:rPr lang="nb-NO" sz="1100"/>
                        <a:t>Fritekstartikler</a:t>
                      </a:r>
                      <a:endParaRPr lang="en-US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100"/>
                        <a:t>En vare/tjeneste som ikke er forhåndsdefinert, hvor artikkelen må beskrives med egne ord i innkjøpsløsningen</a:t>
                      </a:r>
                      <a:endParaRPr lang="en-US" sz="11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95834807"/>
                  </a:ext>
                </a:extLst>
              </a:tr>
              <a:tr h="299284">
                <a:tc>
                  <a:txBody>
                    <a:bodyPr/>
                    <a:lstStyle/>
                    <a:p>
                      <a:r>
                        <a:rPr lang="nb-NO" sz="1050"/>
                        <a:t>Varemottak</a:t>
                      </a:r>
                      <a:endParaRPr lang="en-US" sz="105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50"/>
                        <a:t>Bekreftelse på at bestilt vare/tjeneste er mottatt, og i tråd med innkjøpsordre. Registreres i eget skjermbilde i innkjøpsløsningen. 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36263088"/>
                  </a:ext>
                </a:extLst>
              </a:tr>
              <a:tr h="299284">
                <a:tc>
                  <a:txBody>
                    <a:bodyPr/>
                    <a:lstStyle/>
                    <a:p>
                      <a:r>
                        <a:rPr lang="nb-NO" sz="1050"/>
                        <a:t>Avgiftskoder</a:t>
                      </a:r>
                      <a:endParaRPr lang="en-US" sz="105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50"/>
                        <a:t>Koder som styrer behandling</a:t>
                      </a:r>
                      <a:r>
                        <a:rPr lang="en-US" sz="1050" baseline="0"/>
                        <a:t> av mva i regnskapet og mva%</a:t>
                      </a:r>
                      <a:endParaRPr lang="en-US" sz="105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34055015"/>
                  </a:ext>
                </a:extLst>
              </a:tr>
              <a:tr h="299284">
                <a:tc>
                  <a:txBody>
                    <a:bodyPr/>
                    <a:lstStyle/>
                    <a:p>
                      <a:r>
                        <a:rPr lang="nb-NO" sz="1050"/>
                        <a:t>Nettbutikk</a:t>
                      </a:r>
                      <a:endParaRPr lang="en-US" sz="105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050" b="0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jent</a:t>
                      </a:r>
                      <a:r>
                        <a:rPr lang="nb-NO" sz="1050" b="0" i="0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om ekstern katalog eller </a:t>
                      </a:r>
                      <a:r>
                        <a:rPr lang="nb-NO" sz="1050" b="0" i="0" kern="1200" baseline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unchout</a:t>
                      </a:r>
                      <a:r>
                        <a:rPr lang="nb-NO" sz="1050" b="0" i="0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 Løsning hvor en går ut starter i systemet og blir tatt med ut til </a:t>
                      </a:r>
                      <a:r>
                        <a:rPr lang="nb-NO" sz="1050" b="0" i="0" kern="1200" baseline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everandørensnettside</a:t>
                      </a:r>
                      <a:r>
                        <a:rPr lang="nb-NO" sz="1050" b="0" i="0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tilrettelagt for UiO, plukker varer og tar disse med tilbake til handlekurven i systemet.</a:t>
                      </a:r>
                      <a:endParaRPr lang="nb-NO" sz="1050" b="0" i="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9298752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5624816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Content Placeholder 3">
            <a:extLst>
              <a:ext uri="{FF2B5EF4-FFF2-40B4-BE49-F238E27FC236}">
                <a16:creationId xmlns:a16="http://schemas.microsoft.com/office/drawing/2014/main" id="{7751AA12-2729-F268-8062-561A2C8A1B8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90924316"/>
              </p:ext>
            </p:extLst>
          </p:nvPr>
        </p:nvGraphicFramePr>
        <p:xfrm>
          <a:off x="276896" y="613048"/>
          <a:ext cx="8229600" cy="17611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57494">
                  <a:extLst>
                    <a:ext uri="{9D8B030D-6E8A-4147-A177-3AD203B41FA5}">
                      <a16:colId xmlns:a16="http://schemas.microsoft.com/office/drawing/2014/main" val="671472728"/>
                    </a:ext>
                  </a:extLst>
                </a:gridCol>
                <a:gridCol w="6472106">
                  <a:extLst>
                    <a:ext uri="{9D8B030D-6E8A-4147-A177-3AD203B41FA5}">
                      <a16:colId xmlns:a16="http://schemas.microsoft.com/office/drawing/2014/main" val="587957633"/>
                    </a:ext>
                  </a:extLst>
                </a:gridCol>
              </a:tblGrid>
              <a:tr h="357416">
                <a:tc>
                  <a:txBody>
                    <a:bodyPr/>
                    <a:lstStyle/>
                    <a:p>
                      <a:r>
                        <a:rPr lang="en-US" sz="1600" err="1"/>
                        <a:t>Begrep</a:t>
                      </a:r>
                      <a:endParaRPr lang="en-US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err="1"/>
                        <a:t>Forklaring</a:t>
                      </a:r>
                      <a:endParaRPr lang="en-US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84262820"/>
                  </a:ext>
                </a:extLst>
              </a:tr>
              <a:tr h="253170">
                <a:tc>
                  <a:txBody>
                    <a:bodyPr/>
                    <a:lstStyle/>
                    <a:p>
                      <a:r>
                        <a:rPr lang="nb-NO" sz="1050"/>
                        <a:t>Distribusjonsmodus</a:t>
                      </a:r>
                      <a:endParaRPr lang="en-US" sz="105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50" err="1"/>
                        <a:t>Valg</a:t>
                      </a:r>
                      <a:r>
                        <a:rPr lang="en-US" sz="1050" baseline="0"/>
                        <a:t> av modus </a:t>
                      </a:r>
                      <a:r>
                        <a:rPr lang="en-US" sz="1050" baseline="0" err="1"/>
                        <a:t>styrer</a:t>
                      </a:r>
                      <a:r>
                        <a:rPr lang="en-US" sz="1050" baseline="0"/>
                        <a:t> </a:t>
                      </a:r>
                      <a:r>
                        <a:rPr lang="en-US" sz="1050" baseline="0" err="1"/>
                        <a:t>videre</a:t>
                      </a:r>
                      <a:r>
                        <a:rPr lang="en-US" sz="1050" baseline="0"/>
                        <a:t> </a:t>
                      </a:r>
                      <a:r>
                        <a:rPr lang="en-US" sz="1050" baseline="0" err="1"/>
                        <a:t>arbeidsflyt</a:t>
                      </a:r>
                      <a:r>
                        <a:rPr lang="en-US" sz="1050" baseline="0"/>
                        <a:t> for </a:t>
                      </a:r>
                      <a:r>
                        <a:rPr lang="en-US" sz="1050" baseline="0" err="1"/>
                        <a:t>en</a:t>
                      </a:r>
                      <a:r>
                        <a:rPr lang="en-US" sz="1050" baseline="0"/>
                        <a:t> </a:t>
                      </a:r>
                      <a:r>
                        <a:rPr lang="en-US" sz="1050" baseline="0" err="1"/>
                        <a:t>innkjøpsordre</a:t>
                      </a:r>
                      <a:r>
                        <a:rPr lang="en-US" sz="1050" baseline="0"/>
                        <a:t> </a:t>
                      </a:r>
                      <a:r>
                        <a:rPr lang="en-US" sz="1050" baseline="0" err="1"/>
                        <a:t>når</a:t>
                      </a:r>
                      <a:r>
                        <a:rPr lang="en-US" sz="1050" baseline="0"/>
                        <a:t> den er </a:t>
                      </a:r>
                      <a:r>
                        <a:rPr lang="en-US" sz="1050" baseline="0" err="1"/>
                        <a:t>godkjent</a:t>
                      </a:r>
                      <a:r>
                        <a:rPr lang="en-US" sz="1050" baseline="0"/>
                        <a:t> av </a:t>
                      </a:r>
                      <a:r>
                        <a:rPr lang="en-US" sz="1050" baseline="0" err="1"/>
                        <a:t>leverandør</a:t>
                      </a:r>
                      <a:r>
                        <a:rPr lang="en-US" sz="1050" baseline="0"/>
                        <a:t>. </a:t>
                      </a:r>
                      <a:r>
                        <a:rPr lang="en-US" sz="1050" baseline="0" err="1"/>
                        <a:t>Gir</a:t>
                      </a:r>
                      <a:r>
                        <a:rPr lang="en-US" sz="1050" baseline="0"/>
                        <a:t> </a:t>
                      </a:r>
                      <a:r>
                        <a:rPr lang="en-US" sz="1050" baseline="0" err="1"/>
                        <a:t>mulighet</a:t>
                      </a:r>
                      <a:r>
                        <a:rPr lang="en-US" sz="1050" baseline="0"/>
                        <a:t> </a:t>
                      </a:r>
                      <a:r>
                        <a:rPr lang="en-US" sz="1050" baseline="0" err="1"/>
                        <a:t>til</a:t>
                      </a:r>
                      <a:r>
                        <a:rPr lang="en-US" sz="1050" baseline="0"/>
                        <a:t> å </a:t>
                      </a:r>
                      <a:r>
                        <a:rPr lang="en-US" sz="1050" baseline="0" err="1"/>
                        <a:t>velge</a:t>
                      </a:r>
                      <a:r>
                        <a:rPr lang="en-US" sz="1050" baseline="0"/>
                        <a:t> om </a:t>
                      </a:r>
                      <a:r>
                        <a:rPr lang="en-US" sz="1050" baseline="0" err="1"/>
                        <a:t>ordren</a:t>
                      </a:r>
                      <a:r>
                        <a:rPr lang="en-US" sz="1050" baseline="0"/>
                        <a:t> </a:t>
                      </a:r>
                      <a:r>
                        <a:rPr lang="en-US" sz="1050" baseline="0" err="1"/>
                        <a:t>skal</a:t>
                      </a:r>
                      <a:r>
                        <a:rPr lang="en-US" sz="1050" baseline="0"/>
                        <a:t> </a:t>
                      </a:r>
                      <a:r>
                        <a:rPr lang="en-US" sz="1050" baseline="0" err="1"/>
                        <a:t>sendes</a:t>
                      </a:r>
                      <a:r>
                        <a:rPr lang="en-US" sz="1050" baseline="0"/>
                        <a:t> </a:t>
                      </a:r>
                      <a:r>
                        <a:rPr lang="en-US" sz="1050" baseline="0" err="1"/>
                        <a:t>til</a:t>
                      </a:r>
                      <a:r>
                        <a:rPr lang="en-US" sz="1050" baseline="0"/>
                        <a:t> </a:t>
                      </a:r>
                      <a:r>
                        <a:rPr lang="en-US" sz="1050" baseline="0" err="1"/>
                        <a:t>leverandør</a:t>
                      </a:r>
                      <a:r>
                        <a:rPr lang="en-US" sz="1050" baseline="0"/>
                        <a:t> </a:t>
                      </a:r>
                      <a:r>
                        <a:rPr lang="en-US" sz="1050" baseline="0" err="1"/>
                        <a:t>eller</a:t>
                      </a:r>
                      <a:r>
                        <a:rPr lang="en-US" sz="1050" baseline="0"/>
                        <a:t> </a:t>
                      </a:r>
                      <a:r>
                        <a:rPr lang="en-US" sz="1050" baseline="0" err="1"/>
                        <a:t>ikke</a:t>
                      </a:r>
                      <a:r>
                        <a:rPr lang="en-US" sz="1050" baseline="0"/>
                        <a:t>.</a:t>
                      </a:r>
                      <a:endParaRPr lang="en-US" sz="105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37905099"/>
                  </a:ext>
                </a:extLst>
              </a:tr>
              <a:tr h="580801">
                <a:tc>
                  <a:txBody>
                    <a:bodyPr/>
                    <a:lstStyle/>
                    <a:p>
                      <a:r>
                        <a:rPr lang="nb-NO" sz="1050" err="1"/>
                        <a:t>Kostnadsgodkjenner</a:t>
                      </a:r>
                      <a:endParaRPr lang="en-US" sz="105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50" b="0" i="0" kern="120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sessrollen</a:t>
                      </a:r>
                      <a:r>
                        <a:rPr lang="en-US" sz="1050" b="0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50" b="0" i="0" kern="120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om</a:t>
                      </a:r>
                      <a:r>
                        <a:rPr lang="en-US" sz="1050" b="0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50" b="0" i="0" kern="120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kal</a:t>
                      </a:r>
                      <a:r>
                        <a:rPr lang="en-US" sz="1050" b="0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50" b="0" i="0" kern="120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kre</a:t>
                      </a:r>
                      <a:r>
                        <a:rPr lang="en-US" sz="1050" b="0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at </a:t>
                      </a:r>
                      <a:r>
                        <a:rPr lang="en-US" sz="1050" b="0" i="0" kern="120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isposisjoner</a:t>
                      </a:r>
                      <a:r>
                        <a:rPr lang="en-US" sz="1050" b="0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en-US" sz="1050" b="0" i="0" kern="120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vtaler</a:t>
                      </a:r>
                      <a:r>
                        <a:rPr lang="en-US" sz="1050" b="0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50" b="0" i="0" kern="120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g</a:t>
                      </a:r>
                      <a:r>
                        <a:rPr lang="en-US" sz="1050" b="0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50" b="0" i="0" kern="120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rav</a:t>
                      </a:r>
                      <a:r>
                        <a:rPr lang="en-US" sz="1050" b="0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50" b="0" i="0" kern="120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om</a:t>
                      </a:r>
                      <a:r>
                        <a:rPr lang="en-US" sz="1050" b="0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50" b="0" i="0" kern="120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edfører</a:t>
                      </a:r>
                      <a:r>
                        <a:rPr lang="en-US" sz="1050" b="0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50" b="0" i="0" kern="120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økonomisk</a:t>
                      </a:r>
                      <a:r>
                        <a:rPr lang="en-US" sz="1050" b="0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50" b="0" i="0" kern="120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orpliktelse</a:t>
                      </a:r>
                      <a:r>
                        <a:rPr lang="en-US" sz="1050" b="0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for </a:t>
                      </a:r>
                      <a:r>
                        <a:rPr lang="en-US" sz="1050" b="0" i="0" kern="120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niversitetet</a:t>
                      </a:r>
                      <a:r>
                        <a:rPr lang="en-US" sz="1050" b="0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er </a:t>
                      </a:r>
                      <a:r>
                        <a:rPr lang="en-US" sz="1050" b="0" i="0" kern="120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r>
                        <a:rPr lang="en-US" sz="1050" b="0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50" b="0" i="0" kern="120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åd</a:t>
                      </a:r>
                      <a:r>
                        <a:rPr lang="en-US" sz="1050" b="0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med </a:t>
                      </a:r>
                      <a:r>
                        <a:rPr lang="en-US" sz="1050" b="0" i="0" kern="120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jeldende</a:t>
                      </a:r>
                      <a:r>
                        <a:rPr lang="en-US" sz="1050" b="0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lover, </a:t>
                      </a:r>
                      <a:r>
                        <a:rPr lang="en-US" sz="1050" b="0" i="0" kern="120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gler</a:t>
                      </a:r>
                      <a:r>
                        <a:rPr lang="en-US" sz="1050" b="0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50" b="0" i="0" kern="120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g</a:t>
                      </a:r>
                      <a:r>
                        <a:rPr lang="en-US" sz="1050" b="0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50" b="0" i="0" kern="120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tningslinjer</a:t>
                      </a:r>
                      <a:r>
                        <a:rPr lang="en-US" sz="1050" b="0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en-US" sz="1050" b="0" i="0" kern="120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utiner</a:t>
                      </a:r>
                      <a:r>
                        <a:rPr lang="en-US" sz="1050" b="0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 Er </a:t>
                      </a:r>
                      <a:r>
                        <a:rPr lang="en-US" sz="1050" b="0" i="0" kern="120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legert</a:t>
                      </a:r>
                      <a:r>
                        <a:rPr lang="en-US" sz="1050" b="0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50" b="0" i="0" kern="120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udsjettdisponeringsmyndighet</a:t>
                      </a:r>
                      <a:r>
                        <a:rPr lang="en-US" sz="1050" b="0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50" b="0" i="0" kern="120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r>
                        <a:rPr lang="en-US" sz="1050" b="0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50" b="0" i="0" kern="120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ullmaktsstrukturen</a:t>
                      </a:r>
                      <a:r>
                        <a:rPr lang="en-US" sz="1050" b="0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50" b="0" i="0" kern="120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ht</a:t>
                      </a:r>
                      <a:r>
                        <a:rPr lang="en-US" sz="1050" b="0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 </a:t>
                      </a:r>
                      <a:r>
                        <a:rPr lang="en-US" sz="1050" b="0" i="0" kern="120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ternt</a:t>
                      </a:r>
                      <a:r>
                        <a:rPr lang="en-US" sz="1050" b="0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50" b="0" i="0" kern="120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glement</a:t>
                      </a:r>
                      <a:endParaRPr lang="en-US" sz="105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89082593"/>
                  </a:ext>
                </a:extLst>
              </a:tr>
              <a:tr h="296262">
                <a:tc>
                  <a:txBody>
                    <a:bodyPr/>
                    <a:lstStyle/>
                    <a:p>
                      <a:r>
                        <a:rPr lang="nb-NO" sz="1050"/>
                        <a:t>Intern katalog</a:t>
                      </a:r>
                      <a:endParaRPr lang="en-US" sz="105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50" b="0" i="0" kern="1200" baseline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ataloger</a:t>
                      </a:r>
                      <a:r>
                        <a:rPr lang="en-US" sz="1050" b="0" i="0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50" b="0" i="0" kern="1200" baseline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om</a:t>
                      </a:r>
                      <a:r>
                        <a:rPr lang="en-US" sz="1050" b="0" i="0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er lest inn </a:t>
                      </a:r>
                      <a:r>
                        <a:rPr lang="en-US" sz="1050" b="0" i="0" kern="1200" baseline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r>
                        <a:rPr lang="en-US" sz="1050" b="0" i="0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50" b="0" i="0" kern="1200" baseline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ystemet</a:t>
                      </a:r>
                      <a:r>
                        <a:rPr lang="en-US" sz="1050" b="0" i="0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 Kan </a:t>
                      </a:r>
                      <a:r>
                        <a:rPr lang="en-US" sz="1050" b="0" i="0" kern="1200" baseline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ære</a:t>
                      </a:r>
                      <a:r>
                        <a:rPr lang="en-US" sz="1050" b="0" i="0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50" b="0" i="0" kern="1200" baseline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ataloger</a:t>
                      </a:r>
                      <a:r>
                        <a:rPr lang="en-US" sz="1050" b="0" i="0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50" b="0" i="0" kern="1200" baseline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ottatt</a:t>
                      </a:r>
                      <a:r>
                        <a:rPr lang="en-US" sz="1050" b="0" i="0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50" b="0" i="0" kern="1200" baseline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ra</a:t>
                      </a:r>
                      <a:r>
                        <a:rPr lang="en-US" sz="1050" b="0" i="0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50" b="0" i="0" kern="1200" baseline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evernadør</a:t>
                      </a:r>
                      <a:r>
                        <a:rPr lang="en-US" sz="1050" b="0" i="0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50" b="0" i="0" kern="1200" baseline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ller</a:t>
                      </a:r>
                      <a:r>
                        <a:rPr lang="en-US" sz="1050" b="0" i="0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50" b="0" i="0" kern="1200" baseline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om</a:t>
                      </a:r>
                      <a:r>
                        <a:rPr lang="en-US" sz="1050" b="0" i="0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50" b="0" i="0" kern="1200" baseline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iO</a:t>
                      </a:r>
                      <a:r>
                        <a:rPr lang="en-US" sz="1050" b="0" i="0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50" b="0" i="0" kern="1200" baseline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ar</a:t>
                      </a:r>
                      <a:r>
                        <a:rPr lang="en-US" sz="1050" b="0" i="0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50" b="0" i="0" kern="1200" baseline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pprettet</a:t>
                      </a:r>
                      <a:r>
                        <a:rPr lang="en-US" sz="1050" b="0" i="0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50" b="0" i="0" kern="1200" baseline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lv</a:t>
                      </a:r>
                      <a:r>
                        <a:rPr lang="en-US" sz="1050" b="0" i="0" kern="1200" baseline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636775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4175176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CBA7CD-CB59-4B93-883D-65CBF05ED4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CBA7CD-CB59-4B93-883D-65CBF05ED4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97A77EE-7428-4BA9-B2B1-D73C5881D7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Agenda</a:t>
            </a:r>
          </a:p>
        </p:txBody>
      </p:sp>
      <p:graphicFrame>
        <p:nvGraphicFramePr>
          <p:cNvPr id="4" name="Table 6">
            <a:extLst>
              <a:ext uri="{FF2B5EF4-FFF2-40B4-BE49-F238E27FC236}">
                <a16:creationId xmlns:a16="http://schemas.microsoft.com/office/drawing/2014/main" id="{6BC5C563-D417-42F7-85F7-ECCA2B7AB6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54462197"/>
              </p:ext>
            </p:extLst>
          </p:nvPr>
        </p:nvGraphicFramePr>
        <p:xfrm>
          <a:off x="362626" y="1053530"/>
          <a:ext cx="8418747" cy="3648009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070910">
                  <a:extLst>
                    <a:ext uri="{9D8B030D-6E8A-4147-A177-3AD203B41FA5}">
                      <a16:colId xmlns:a16="http://schemas.microsoft.com/office/drawing/2014/main" val="1601383899"/>
                    </a:ext>
                  </a:extLst>
                </a:gridCol>
                <a:gridCol w="1347837">
                  <a:extLst>
                    <a:ext uri="{9D8B030D-6E8A-4147-A177-3AD203B41FA5}">
                      <a16:colId xmlns:a16="http://schemas.microsoft.com/office/drawing/2014/main" val="694349209"/>
                    </a:ext>
                  </a:extLst>
                </a:gridCol>
              </a:tblGrid>
              <a:tr h="357149">
                <a:tc>
                  <a:txBody>
                    <a:bodyPr/>
                    <a:lstStyle/>
                    <a:p>
                      <a:r>
                        <a:rPr lang="nb-NO" sz="1400" b="1">
                          <a:solidFill>
                            <a:schemeClr val="tx1"/>
                          </a:solidFill>
                        </a:rPr>
                        <a:t>Oppsummering av BOTT E-læring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>
                          <a:solidFill>
                            <a:schemeClr val="tx1"/>
                          </a:solidFill>
                        </a:rPr>
                        <a:t>15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7801232"/>
                  </a:ext>
                </a:extLst>
              </a:tr>
              <a:tr h="414523">
                <a:tc>
                  <a:txBody>
                    <a:bodyPr/>
                    <a:lstStyle/>
                    <a:p>
                      <a:r>
                        <a:rPr lang="nb-NO" sz="1400" b="1" i="0"/>
                        <a:t>Hovedforskjeller fra dagens løsning</a:t>
                      </a:r>
                      <a:endParaRPr lang="nb-NO" sz="1400" b="0" i="1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i="0"/>
                        <a:t>15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878283"/>
                  </a:ext>
                </a:extLst>
              </a:tr>
              <a:tr h="405269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nb-NO" sz="1400" b="1" i="0"/>
                        <a:t>Om ny økonomimodell – hva betyr det for deg som fagrekvirent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i="0"/>
                        <a:t>15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1896127"/>
                  </a:ext>
                </a:extLst>
              </a:tr>
              <a:tr h="416672">
                <a:tc>
                  <a:txBody>
                    <a:bodyPr/>
                    <a:lstStyle/>
                    <a:p>
                      <a:r>
                        <a:rPr lang="nb-NO" sz="1400" b="1" i="0"/>
                        <a:t>Mer om </a:t>
                      </a:r>
                      <a:r>
                        <a:rPr lang="nb-NO" sz="1400" b="1" i="0" err="1"/>
                        <a:t>mva</a:t>
                      </a:r>
                      <a:r>
                        <a:rPr lang="nb-NO" sz="1400" b="1" i="0"/>
                        <a:t> 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i="0"/>
                        <a:t>15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5042368"/>
                  </a:ext>
                </a:extLst>
              </a:tr>
              <a:tr h="416672">
                <a:tc>
                  <a:txBody>
                    <a:bodyPr/>
                    <a:lstStyle/>
                    <a:p>
                      <a:r>
                        <a:rPr lang="nb-NO" sz="1400" b="1" i="0"/>
                        <a:t>Nye begreper / Terminologi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i="0"/>
                        <a:t>  5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311385"/>
                  </a:ext>
                </a:extLst>
              </a:tr>
              <a:tr h="616555">
                <a:tc>
                  <a:txBody>
                    <a:bodyPr/>
                    <a:lstStyle/>
                    <a:p>
                      <a:r>
                        <a:rPr lang="nb-NO" sz="1400" b="1" i="0">
                          <a:solidFill>
                            <a:schemeClr val="bg1"/>
                          </a:solidFill>
                        </a:rPr>
                        <a:t>Kort demo av Unit4 ERP – opprette innkjøpsforespørsel og utføre vare-/tjenestemottak</a:t>
                      </a:r>
                    </a:p>
                  </a:txBody>
                  <a:tcPr>
                    <a:solidFill>
                      <a:srgbClr val="01469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i="0">
                          <a:solidFill>
                            <a:schemeClr val="bg1"/>
                          </a:solidFill>
                        </a:rPr>
                        <a:t>20 min</a:t>
                      </a:r>
                    </a:p>
                  </a:txBody>
                  <a:tcPr>
                    <a:solidFill>
                      <a:srgbClr val="0146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3655383"/>
                  </a:ext>
                </a:extLst>
              </a:tr>
              <a:tr h="523552">
                <a:tc>
                  <a:txBody>
                    <a:bodyPr/>
                    <a:lstStyle/>
                    <a:p>
                      <a:r>
                        <a:rPr lang="nb-NO" sz="1400" b="1" i="0"/>
                        <a:t>Hva skjer videre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i="0"/>
                        <a:t>  5 mi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32332376"/>
                  </a:ext>
                </a:extLst>
              </a:tr>
              <a:tr h="497617">
                <a:tc>
                  <a:txBody>
                    <a:bodyPr/>
                    <a:lstStyle/>
                    <a:p>
                      <a:r>
                        <a:rPr lang="nb-NO" sz="1400" b="1" i="0"/>
                        <a:t>Spørsmål og svar</a:t>
                      </a:r>
                      <a:endParaRPr lang="nb-NO" sz="1400" b="0" i="1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i="0"/>
                        <a:t>30 mi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990884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1920283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73751C6-19EA-4A04-A4E2-FF5A555DD7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94181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73751C6-19EA-4A04-A4E2-FF5A555DD7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B03C6FD-E64D-4F44-97A7-21E799BD52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5" y="298339"/>
            <a:ext cx="8418747" cy="586957"/>
          </a:xfrm>
        </p:spPr>
        <p:txBody>
          <a:bodyPr vert="horz"/>
          <a:lstStyle/>
          <a:p>
            <a:r>
              <a:rPr lang="nb-NO" sz="3200"/>
              <a:t>Registrere innkjøpsforespørsel - Demo</a:t>
            </a:r>
          </a:p>
        </p:txBody>
      </p:sp>
      <p:pic>
        <p:nvPicPr>
          <p:cNvPr id="17" name="Graphic 16" descr="Internet outline">
            <a:extLst>
              <a:ext uri="{FF2B5EF4-FFF2-40B4-BE49-F238E27FC236}">
                <a16:creationId xmlns:a16="http://schemas.microsoft.com/office/drawing/2014/main" id="{14A8BE81-715D-410B-877F-86DE1B23248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538257" y="1097341"/>
            <a:ext cx="3549878" cy="35498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586475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092F326-9FA1-44F8-8917-A9DD2DAF1A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60246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092F326-9FA1-44F8-8917-A9DD2DAF1A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DA9F4AB-C8AD-4C46-9095-D89DDE5022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5" y="298339"/>
            <a:ext cx="8418747" cy="586957"/>
          </a:xfrm>
        </p:spPr>
        <p:txBody>
          <a:bodyPr vert="horz"/>
          <a:lstStyle/>
          <a:p>
            <a:r>
              <a:rPr lang="nb-NO" sz="3200"/>
              <a:t>Gjøre vare- / tjenestemottak - Video</a:t>
            </a:r>
          </a:p>
        </p:txBody>
      </p:sp>
      <p:pic>
        <p:nvPicPr>
          <p:cNvPr id="13" name="Graphic 12" descr="Online meeting outline">
            <a:extLst>
              <a:ext uri="{FF2B5EF4-FFF2-40B4-BE49-F238E27FC236}">
                <a16:creationId xmlns:a16="http://schemas.microsoft.com/office/drawing/2014/main" id="{94C6C551-A039-4DDA-8378-856031A3F32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615313" y="1044020"/>
            <a:ext cx="3445518" cy="344551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4DAF4036-EBE6-430D-941A-2E1DDB2E770D}"/>
              </a:ext>
            </a:extLst>
          </p:cNvPr>
          <p:cNvSpPr txBox="1"/>
          <p:nvPr/>
        </p:nvSpPr>
        <p:spPr>
          <a:xfrm>
            <a:off x="2532183" y="4181942"/>
            <a:ext cx="55311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>
                <a:hlinkClick r:id="rId8"/>
              </a:rPr>
              <a:t>DFØ: Instruksjonsvideo - Varemottak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59046204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CBA7CD-CB59-4B93-883D-65CBF05ED4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CBA7CD-CB59-4B93-883D-65CBF05ED4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97A77EE-7428-4BA9-B2B1-D73C5881D7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Agenda</a:t>
            </a:r>
          </a:p>
        </p:txBody>
      </p:sp>
      <p:graphicFrame>
        <p:nvGraphicFramePr>
          <p:cNvPr id="4" name="Table 6">
            <a:extLst>
              <a:ext uri="{FF2B5EF4-FFF2-40B4-BE49-F238E27FC236}">
                <a16:creationId xmlns:a16="http://schemas.microsoft.com/office/drawing/2014/main" id="{6BC5C563-D417-42F7-85F7-ECCA2B7AB6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2923969"/>
              </p:ext>
            </p:extLst>
          </p:nvPr>
        </p:nvGraphicFramePr>
        <p:xfrm>
          <a:off x="362626" y="1053530"/>
          <a:ext cx="8418747" cy="3648009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070910">
                  <a:extLst>
                    <a:ext uri="{9D8B030D-6E8A-4147-A177-3AD203B41FA5}">
                      <a16:colId xmlns:a16="http://schemas.microsoft.com/office/drawing/2014/main" val="1601383899"/>
                    </a:ext>
                  </a:extLst>
                </a:gridCol>
                <a:gridCol w="1347837">
                  <a:extLst>
                    <a:ext uri="{9D8B030D-6E8A-4147-A177-3AD203B41FA5}">
                      <a16:colId xmlns:a16="http://schemas.microsoft.com/office/drawing/2014/main" val="694349209"/>
                    </a:ext>
                  </a:extLst>
                </a:gridCol>
              </a:tblGrid>
              <a:tr h="357149">
                <a:tc>
                  <a:txBody>
                    <a:bodyPr/>
                    <a:lstStyle/>
                    <a:p>
                      <a:r>
                        <a:rPr lang="nb-NO" sz="1400" b="1">
                          <a:solidFill>
                            <a:schemeClr val="tx1"/>
                          </a:solidFill>
                        </a:rPr>
                        <a:t>Oppsummering av BOTT E-læring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>
                          <a:solidFill>
                            <a:schemeClr val="tx1"/>
                          </a:solidFill>
                        </a:rPr>
                        <a:t>15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7801232"/>
                  </a:ext>
                </a:extLst>
              </a:tr>
              <a:tr h="414523">
                <a:tc>
                  <a:txBody>
                    <a:bodyPr/>
                    <a:lstStyle/>
                    <a:p>
                      <a:r>
                        <a:rPr lang="nb-NO" sz="1400" b="1" i="0"/>
                        <a:t>Hovedforskjeller fra dagens løsning</a:t>
                      </a:r>
                      <a:endParaRPr lang="nb-NO" sz="1400" b="0" i="1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i="0"/>
                        <a:t>15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878283"/>
                  </a:ext>
                </a:extLst>
              </a:tr>
              <a:tr h="405269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nb-NO" sz="1400" b="1" i="0"/>
                        <a:t>Om ny økonomimodell – hva betyr det for deg som fagrekvirent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i="0"/>
                        <a:t>15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1896127"/>
                  </a:ext>
                </a:extLst>
              </a:tr>
              <a:tr h="416672">
                <a:tc>
                  <a:txBody>
                    <a:bodyPr/>
                    <a:lstStyle/>
                    <a:p>
                      <a:r>
                        <a:rPr lang="nb-NO" sz="1400" b="1" i="0"/>
                        <a:t>Mer om </a:t>
                      </a:r>
                      <a:r>
                        <a:rPr lang="nb-NO" sz="1400" b="1" i="0" err="1"/>
                        <a:t>mva</a:t>
                      </a:r>
                      <a:r>
                        <a:rPr lang="nb-NO" sz="1400" b="1" i="0"/>
                        <a:t> 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i="0"/>
                        <a:t>15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5042368"/>
                  </a:ext>
                </a:extLst>
              </a:tr>
              <a:tr h="416672">
                <a:tc>
                  <a:txBody>
                    <a:bodyPr/>
                    <a:lstStyle/>
                    <a:p>
                      <a:r>
                        <a:rPr lang="nb-NO" sz="1400" b="1" i="0"/>
                        <a:t>Nye begreper / Terminologi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i="0"/>
                        <a:t>  5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311385"/>
                  </a:ext>
                </a:extLst>
              </a:tr>
              <a:tr h="616555">
                <a:tc>
                  <a:txBody>
                    <a:bodyPr/>
                    <a:lstStyle/>
                    <a:p>
                      <a:r>
                        <a:rPr lang="nb-NO" sz="1400" b="1" i="0"/>
                        <a:t>Kort demo av Unit4 ERP – opprette innkjøpsforespørsel og utføre vare-/tjenestemottak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i="0"/>
                        <a:t>20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3655383"/>
                  </a:ext>
                </a:extLst>
              </a:tr>
              <a:tr h="523552">
                <a:tc>
                  <a:txBody>
                    <a:bodyPr/>
                    <a:lstStyle/>
                    <a:p>
                      <a:r>
                        <a:rPr lang="nb-NO" sz="1400" b="1" i="0">
                          <a:solidFill>
                            <a:schemeClr val="bg1"/>
                          </a:solidFill>
                        </a:rPr>
                        <a:t>Hva skjer videre </a:t>
                      </a:r>
                    </a:p>
                  </a:txBody>
                  <a:tcPr>
                    <a:solidFill>
                      <a:srgbClr val="01469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i="0">
                          <a:solidFill>
                            <a:schemeClr val="bg1"/>
                          </a:solidFill>
                        </a:rPr>
                        <a:t>  5 min</a:t>
                      </a:r>
                    </a:p>
                  </a:txBody>
                  <a:tcPr>
                    <a:solidFill>
                      <a:srgbClr val="0146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2332376"/>
                  </a:ext>
                </a:extLst>
              </a:tr>
              <a:tr h="497617">
                <a:tc>
                  <a:txBody>
                    <a:bodyPr/>
                    <a:lstStyle/>
                    <a:p>
                      <a:r>
                        <a:rPr lang="nb-NO" sz="1400" b="1" i="0"/>
                        <a:t>Spørsmål og svar</a:t>
                      </a:r>
                      <a:endParaRPr lang="nb-NO" sz="1400" b="0" i="1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i="0"/>
                        <a:t>30 mi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990884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2315692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49188B9-A6F7-440D-A2F0-8AF5491499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685119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49188B9-A6F7-440D-A2F0-8AF5491499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D9EEACF-30AA-062D-B233-32AA2BF7A0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5" y="298339"/>
            <a:ext cx="8418747" cy="648512"/>
          </a:xfrm>
        </p:spPr>
        <p:txBody>
          <a:bodyPr vert="horz" wrap="square" anchor="t">
            <a:normAutofit/>
          </a:bodyPr>
          <a:lstStyle/>
          <a:p>
            <a:r>
              <a:rPr lang="nb-NO"/>
              <a:t>Videre opplæring – fagrekvirent </a:t>
            </a:r>
          </a:p>
        </p:txBody>
      </p: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F5D12DDB-020C-DBAF-279A-E4D33857DB2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875905124"/>
              </p:ext>
            </p:extLst>
          </p:nvPr>
        </p:nvGraphicFramePr>
        <p:xfrm>
          <a:off x="301385" y="1010266"/>
          <a:ext cx="8418747" cy="36137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3390629061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0B4DDF2-6FBF-4265-AA2E-E2924460D38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33427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0B4DDF2-6FBF-4265-AA2E-E2924460D3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7F06DE0-2138-CF8E-7F48-A3A81D53EF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Viktig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358B498-1325-477E-8E93-79DE235FE3A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03153" y="2086322"/>
            <a:ext cx="4356688" cy="244757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8234383-2D7C-40C4-9317-E435740B62BE}"/>
              </a:ext>
            </a:extLst>
          </p:cNvPr>
          <p:cNvSpPr txBox="1"/>
          <p:nvPr/>
        </p:nvSpPr>
        <p:spPr>
          <a:xfrm>
            <a:off x="4160802" y="1226821"/>
            <a:ext cx="455933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b="1">
                <a:solidFill>
                  <a:srgbClr val="014694"/>
                </a:solidFill>
              </a:rPr>
              <a:t>Bruk brukerstøtten:</a:t>
            </a:r>
          </a:p>
          <a:p>
            <a:pPr marL="342900" indent="-342900">
              <a:buAutoNum type="arabicPeriod"/>
            </a:pPr>
            <a:r>
              <a:rPr lang="nb-NO" sz="1200"/>
              <a:t>Lokale innkjøpere</a:t>
            </a:r>
          </a:p>
          <a:p>
            <a:pPr marL="342900" indent="-342900">
              <a:buAutoNum type="arabicPeriod"/>
            </a:pPr>
            <a:r>
              <a:rPr lang="nb-NO" sz="1200"/>
              <a:t>Prosessrådgiver på din enhet</a:t>
            </a:r>
          </a:p>
          <a:p>
            <a:pPr marL="342900" indent="-342900">
              <a:buAutoNum type="arabicPeriod"/>
            </a:pPr>
            <a:r>
              <a:rPr lang="nb-NO" sz="1200"/>
              <a:t>Åpne </a:t>
            </a:r>
            <a:r>
              <a:rPr lang="nb-NO" sz="1200" err="1"/>
              <a:t>teamsforum</a:t>
            </a:r>
            <a:r>
              <a:rPr lang="nb-NO" sz="1200"/>
              <a:t> (fra nyttår) med sentrale ressurser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B3DFAB8-87BC-4548-A52A-4AC5876EEDF1}"/>
              </a:ext>
            </a:extLst>
          </p:cNvPr>
          <p:cNvSpPr/>
          <p:nvPr/>
        </p:nvSpPr>
        <p:spPr>
          <a:xfrm>
            <a:off x="389606" y="1226820"/>
            <a:ext cx="3214653" cy="3246120"/>
          </a:xfrm>
          <a:prstGeom prst="rect">
            <a:avLst/>
          </a:prstGeom>
          <a:solidFill>
            <a:srgbClr val="014694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br>
              <a:rPr lang="nb-NO"/>
            </a:br>
            <a:br>
              <a:rPr lang="nb-NO"/>
            </a:br>
            <a:br>
              <a:rPr lang="nb-NO"/>
            </a:br>
            <a:br>
              <a:rPr lang="nb-NO"/>
            </a:br>
            <a:br>
              <a:rPr lang="nb-NO"/>
            </a:br>
            <a:r>
              <a:rPr lang="nb-NO"/>
              <a:t>Ta varemottak på det som mottas i 2022</a:t>
            </a:r>
          </a:p>
        </p:txBody>
      </p:sp>
      <p:grpSp>
        <p:nvGrpSpPr>
          <p:cNvPr id="10" name="Group 521">
            <a:extLst>
              <a:ext uri="{FF2B5EF4-FFF2-40B4-BE49-F238E27FC236}">
                <a16:creationId xmlns:a16="http://schemas.microsoft.com/office/drawing/2014/main" id="{C5A58059-213D-46D8-AC3C-A161D977E6C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373110" y="1619056"/>
            <a:ext cx="1307107" cy="1307106"/>
            <a:chOff x="3476" y="2032"/>
            <a:chExt cx="340" cy="340"/>
          </a:xfrm>
          <a:solidFill>
            <a:schemeClr val="bg1"/>
          </a:solidFill>
        </p:grpSpPr>
        <p:sp>
          <p:nvSpPr>
            <p:cNvPr id="11" name="Freeform 522">
              <a:extLst>
                <a:ext uri="{FF2B5EF4-FFF2-40B4-BE49-F238E27FC236}">
                  <a16:creationId xmlns:a16="http://schemas.microsoft.com/office/drawing/2014/main" id="{5048371D-4B11-4D39-B3A2-66298510C02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5" y="2266"/>
              <a:ext cx="42" cy="42"/>
            </a:xfrm>
            <a:custGeom>
              <a:avLst/>
              <a:gdLst>
                <a:gd name="T0" fmla="*/ 32 w 64"/>
                <a:gd name="T1" fmla="*/ 0 h 64"/>
                <a:gd name="T2" fmla="*/ 0 w 64"/>
                <a:gd name="T3" fmla="*/ 32 h 64"/>
                <a:gd name="T4" fmla="*/ 32 w 64"/>
                <a:gd name="T5" fmla="*/ 64 h 64"/>
                <a:gd name="T6" fmla="*/ 64 w 64"/>
                <a:gd name="T7" fmla="*/ 32 h 64"/>
                <a:gd name="T8" fmla="*/ 32 w 64"/>
                <a:gd name="T9" fmla="*/ 0 h 64"/>
                <a:gd name="T10" fmla="*/ 32 w 64"/>
                <a:gd name="T11" fmla="*/ 42 h 64"/>
                <a:gd name="T12" fmla="*/ 21 w 64"/>
                <a:gd name="T13" fmla="*/ 32 h 64"/>
                <a:gd name="T14" fmla="*/ 32 w 64"/>
                <a:gd name="T15" fmla="*/ 21 h 64"/>
                <a:gd name="T16" fmla="*/ 42 w 64"/>
                <a:gd name="T17" fmla="*/ 32 h 64"/>
                <a:gd name="T18" fmla="*/ 32 w 64"/>
                <a:gd name="T19" fmla="*/ 4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32" y="0"/>
                  </a:moveTo>
                  <a:cubicBezTo>
                    <a:pt x="14" y="0"/>
                    <a:pt x="0" y="14"/>
                    <a:pt x="0" y="32"/>
                  </a:cubicBezTo>
                  <a:cubicBezTo>
                    <a:pt x="0" y="49"/>
                    <a:pt x="14" y="64"/>
                    <a:pt x="32" y="64"/>
                  </a:cubicBezTo>
                  <a:cubicBezTo>
                    <a:pt x="49" y="64"/>
                    <a:pt x="64" y="49"/>
                    <a:pt x="64" y="32"/>
                  </a:cubicBezTo>
                  <a:cubicBezTo>
                    <a:pt x="64" y="14"/>
                    <a:pt x="49" y="0"/>
                    <a:pt x="32" y="0"/>
                  </a:cubicBezTo>
                  <a:close/>
                  <a:moveTo>
                    <a:pt x="32" y="42"/>
                  </a:moveTo>
                  <a:cubicBezTo>
                    <a:pt x="26" y="42"/>
                    <a:pt x="21" y="38"/>
                    <a:pt x="21" y="32"/>
                  </a:cubicBezTo>
                  <a:cubicBezTo>
                    <a:pt x="21" y="26"/>
                    <a:pt x="26" y="21"/>
                    <a:pt x="32" y="21"/>
                  </a:cubicBezTo>
                  <a:cubicBezTo>
                    <a:pt x="38" y="21"/>
                    <a:pt x="42" y="26"/>
                    <a:pt x="42" y="32"/>
                  </a:cubicBezTo>
                  <a:cubicBezTo>
                    <a:pt x="42" y="38"/>
                    <a:pt x="38" y="42"/>
                    <a:pt x="32" y="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xmlns:mc="http://schemas.openxmlformats.org/markup-compatibility/2006" xmlns:p14="http://schemas.microsoft.com/office/powerpoint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96"/>
            </a:p>
          </p:txBody>
        </p:sp>
        <p:sp>
          <p:nvSpPr>
            <p:cNvPr id="12" name="Freeform 523">
              <a:extLst>
                <a:ext uri="{FF2B5EF4-FFF2-40B4-BE49-F238E27FC236}">
                  <a16:creationId xmlns:a16="http://schemas.microsoft.com/office/drawing/2014/main" id="{B81EE79C-B7ED-4C23-B79F-1E405FA7713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17" y="2096"/>
              <a:ext cx="58" cy="155"/>
            </a:xfrm>
            <a:custGeom>
              <a:avLst/>
              <a:gdLst>
                <a:gd name="T0" fmla="*/ 21 w 86"/>
                <a:gd name="T1" fmla="*/ 234 h 234"/>
                <a:gd name="T2" fmla="*/ 21 w 86"/>
                <a:gd name="T3" fmla="*/ 234 h 234"/>
                <a:gd name="T4" fmla="*/ 22 w 86"/>
                <a:gd name="T5" fmla="*/ 234 h 234"/>
                <a:gd name="T6" fmla="*/ 63 w 86"/>
                <a:gd name="T7" fmla="*/ 234 h 234"/>
                <a:gd name="T8" fmla="*/ 64 w 86"/>
                <a:gd name="T9" fmla="*/ 234 h 234"/>
                <a:gd name="T10" fmla="*/ 64 w 86"/>
                <a:gd name="T11" fmla="*/ 234 h 234"/>
                <a:gd name="T12" fmla="*/ 75 w 86"/>
                <a:gd name="T13" fmla="*/ 224 h 234"/>
                <a:gd name="T14" fmla="*/ 85 w 86"/>
                <a:gd name="T15" fmla="*/ 11 h 234"/>
                <a:gd name="T16" fmla="*/ 75 w 86"/>
                <a:gd name="T17" fmla="*/ 0 h 234"/>
                <a:gd name="T18" fmla="*/ 75 w 86"/>
                <a:gd name="T19" fmla="*/ 0 h 234"/>
                <a:gd name="T20" fmla="*/ 11 w 86"/>
                <a:gd name="T21" fmla="*/ 0 h 234"/>
                <a:gd name="T22" fmla="*/ 10 w 86"/>
                <a:gd name="T23" fmla="*/ 0 h 234"/>
                <a:gd name="T24" fmla="*/ 0 w 86"/>
                <a:gd name="T25" fmla="*/ 11 h 234"/>
                <a:gd name="T26" fmla="*/ 11 w 86"/>
                <a:gd name="T27" fmla="*/ 224 h 234"/>
                <a:gd name="T28" fmla="*/ 21 w 86"/>
                <a:gd name="T29" fmla="*/ 234 h 234"/>
                <a:gd name="T30" fmla="*/ 63 w 86"/>
                <a:gd name="T31" fmla="*/ 21 h 234"/>
                <a:gd name="T32" fmla="*/ 54 w 86"/>
                <a:gd name="T33" fmla="*/ 213 h 234"/>
                <a:gd name="T34" fmla="*/ 31 w 86"/>
                <a:gd name="T35" fmla="*/ 213 h 234"/>
                <a:gd name="T36" fmla="*/ 22 w 86"/>
                <a:gd name="T37" fmla="*/ 21 h 234"/>
                <a:gd name="T38" fmla="*/ 63 w 86"/>
                <a:gd name="T39" fmla="*/ 21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6" h="234">
                  <a:moveTo>
                    <a:pt x="21" y="234"/>
                  </a:moveTo>
                  <a:cubicBezTo>
                    <a:pt x="21" y="234"/>
                    <a:pt x="21" y="234"/>
                    <a:pt x="21" y="234"/>
                  </a:cubicBezTo>
                  <a:cubicBezTo>
                    <a:pt x="22" y="234"/>
                    <a:pt x="22" y="234"/>
                    <a:pt x="22" y="234"/>
                  </a:cubicBezTo>
                  <a:cubicBezTo>
                    <a:pt x="63" y="234"/>
                    <a:pt x="63" y="234"/>
                    <a:pt x="63" y="234"/>
                  </a:cubicBezTo>
                  <a:cubicBezTo>
                    <a:pt x="64" y="234"/>
                    <a:pt x="64" y="234"/>
                    <a:pt x="64" y="234"/>
                  </a:cubicBezTo>
                  <a:cubicBezTo>
                    <a:pt x="64" y="234"/>
                    <a:pt x="64" y="234"/>
                    <a:pt x="64" y="234"/>
                  </a:cubicBezTo>
                  <a:cubicBezTo>
                    <a:pt x="70" y="234"/>
                    <a:pt x="74" y="230"/>
                    <a:pt x="75" y="224"/>
                  </a:cubicBezTo>
                  <a:cubicBezTo>
                    <a:pt x="85" y="11"/>
                    <a:pt x="85" y="11"/>
                    <a:pt x="85" y="11"/>
                  </a:cubicBezTo>
                  <a:cubicBezTo>
                    <a:pt x="86" y="5"/>
                    <a:pt x="81" y="0"/>
                    <a:pt x="75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11" y="224"/>
                    <a:pt x="11" y="224"/>
                    <a:pt x="11" y="224"/>
                  </a:cubicBezTo>
                  <a:cubicBezTo>
                    <a:pt x="11" y="230"/>
                    <a:pt x="16" y="234"/>
                    <a:pt x="21" y="234"/>
                  </a:cubicBezTo>
                  <a:close/>
                  <a:moveTo>
                    <a:pt x="63" y="21"/>
                  </a:moveTo>
                  <a:cubicBezTo>
                    <a:pt x="54" y="213"/>
                    <a:pt x="54" y="213"/>
                    <a:pt x="54" y="213"/>
                  </a:cubicBezTo>
                  <a:cubicBezTo>
                    <a:pt x="31" y="213"/>
                    <a:pt x="31" y="213"/>
                    <a:pt x="31" y="213"/>
                  </a:cubicBezTo>
                  <a:cubicBezTo>
                    <a:pt x="22" y="21"/>
                    <a:pt x="22" y="21"/>
                    <a:pt x="22" y="21"/>
                  </a:cubicBezTo>
                  <a:lnTo>
                    <a:pt x="63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xmlns:mc="http://schemas.openxmlformats.org/markup-compatibility/2006" xmlns:p14="http://schemas.microsoft.com/office/powerpoint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96"/>
            </a:p>
          </p:txBody>
        </p:sp>
        <p:sp>
          <p:nvSpPr>
            <p:cNvPr id="13" name="Freeform 524">
              <a:extLst>
                <a:ext uri="{FF2B5EF4-FFF2-40B4-BE49-F238E27FC236}">
                  <a16:creationId xmlns:a16="http://schemas.microsoft.com/office/drawing/2014/main" id="{06CBC99D-1E57-4FE7-A8A9-E3FC4ABD0B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76" y="2032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xmlns:mc="http://schemas.openxmlformats.org/markup-compatibility/2006" xmlns:p14="http://schemas.microsoft.com/office/powerpoint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96"/>
            </a:p>
          </p:txBody>
        </p:sp>
      </p:grpSp>
    </p:spTree>
    <p:extLst>
      <p:ext uri="{BB962C8B-B14F-4D97-AF65-F5344CB8AC3E}">
        <p14:creationId xmlns:p14="http://schemas.microsoft.com/office/powerpoint/2010/main" val="2882483429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CBA7CD-CB59-4B93-883D-65CBF05ED4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CBA7CD-CB59-4B93-883D-65CBF05ED4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97A77EE-7428-4BA9-B2B1-D73C5881D7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Agenda</a:t>
            </a:r>
          </a:p>
        </p:txBody>
      </p:sp>
      <p:graphicFrame>
        <p:nvGraphicFramePr>
          <p:cNvPr id="4" name="Table 6">
            <a:extLst>
              <a:ext uri="{FF2B5EF4-FFF2-40B4-BE49-F238E27FC236}">
                <a16:creationId xmlns:a16="http://schemas.microsoft.com/office/drawing/2014/main" id="{6BC5C563-D417-42F7-85F7-ECCA2B7AB6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03317296"/>
              </p:ext>
            </p:extLst>
          </p:nvPr>
        </p:nvGraphicFramePr>
        <p:xfrm>
          <a:off x="362626" y="1053530"/>
          <a:ext cx="8418747" cy="3648009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070910">
                  <a:extLst>
                    <a:ext uri="{9D8B030D-6E8A-4147-A177-3AD203B41FA5}">
                      <a16:colId xmlns:a16="http://schemas.microsoft.com/office/drawing/2014/main" val="1601383899"/>
                    </a:ext>
                  </a:extLst>
                </a:gridCol>
                <a:gridCol w="1347837">
                  <a:extLst>
                    <a:ext uri="{9D8B030D-6E8A-4147-A177-3AD203B41FA5}">
                      <a16:colId xmlns:a16="http://schemas.microsoft.com/office/drawing/2014/main" val="694349209"/>
                    </a:ext>
                  </a:extLst>
                </a:gridCol>
              </a:tblGrid>
              <a:tr h="357149">
                <a:tc>
                  <a:txBody>
                    <a:bodyPr/>
                    <a:lstStyle/>
                    <a:p>
                      <a:r>
                        <a:rPr lang="nb-NO" sz="1400" b="1">
                          <a:solidFill>
                            <a:schemeClr val="tx1"/>
                          </a:solidFill>
                        </a:rPr>
                        <a:t>Oppsummering av BOTT E-læring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>
                          <a:solidFill>
                            <a:schemeClr val="tx1"/>
                          </a:solidFill>
                        </a:rPr>
                        <a:t>15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7801232"/>
                  </a:ext>
                </a:extLst>
              </a:tr>
              <a:tr h="414523">
                <a:tc>
                  <a:txBody>
                    <a:bodyPr/>
                    <a:lstStyle/>
                    <a:p>
                      <a:r>
                        <a:rPr lang="nb-NO" sz="1400" b="1" i="0"/>
                        <a:t>Hovedforskjeller fra dagens løsning</a:t>
                      </a:r>
                      <a:endParaRPr lang="nb-NO" sz="1400" b="0" i="1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i="0"/>
                        <a:t>15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878283"/>
                  </a:ext>
                </a:extLst>
              </a:tr>
              <a:tr h="405269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nb-NO" sz="1400" b="1" i="0"/>
                        <a:t>Om ny økonomimodell – hva betyr det for deg som fagrekvirent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i="0"/>
                        <a:t>15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1896127"/>
                  </a:ext>
                </a:extLst>
              </a:tr>
              <a:tr h="416672">
                <a:tc>
                  <a:txBody>
                    <a:bodyPr/>
                    <a:lstStyle/>
                    <a:p>
                      <a:r>
                        <a:rPr lang="nb-NO" sz="1400" b="1" i="0"/>
                        <a:t>Mer om </a:t>
                      </a:r>
                      <a:r>
                        <a:rPr lang="nb-NO" sz="1400" b="1" i="0" err="1"/>
                        <a:t>mva</a:t>
                      </a:r>
                      <a:r>
                        <a:rPr lang="nb-NO" sz="1400" b="1" i="0"/>
                        <a:t> 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i="0"/>
                        <a:t>15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5042368"/>
                  </a:ext>
                </a:extLst>
              </a:tr>
              <a:tr h="416672">
                <a:tc>
                  <a:txBody>
                    <a:bodyPr/>
                    <a:lstStyle/>
                    <a:p>
                      <a:r>
                        <a:rPr lang="nb-NO" sz="1400" b="1" i="0"/>
                        <a:t>Nye begreper / Terminologi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i="0"/>
                        <a:t>  5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311385"/>
                  </a:ext>
                </a:extLst>
              </a:tr>
              <a:tr h="616555">
                <a:tc>
                  <a:txBody>
                    <a:bodyPr/>
                    <a:lstStyle/>
                    <a:p>
                      <a:r>
                        <a:rPr lang="nb-NO" sz="1400" b="1" i="0"/>
                        <a:t>Kort demo av Unit4 ERP – opprette innkjøpsforespørsel og utføre vare-/tjenestemottak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i="0"/>
                        <a:t>20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3655383"/>
                  </a:ext>
                </a:extLst>
              </a:tr>
              <a:tr h="523552">
                <a:tc>
                  <a:txBody>
                    <a:bodyPr/>
                    <a:lstStyle/>
                    <a:p>
                      <a:r>
                        <a:rPr lang="nb-NO" sz="1400" b="1" i="0"/>
                        <a:t>Hva skjer videre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i="0"/>
                        <a:t>  5 mi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32332376"/>
                  </a:ext>
                </a:extLst>
              </a:tr>
              <a:tr h="497617">
                <a:tc>
                  <a:txBody>
                    <a:bodyPr/>
                    <a:lstStyle/>
                    <a:p>
                      <a:r>
                        <a:rPr lang="nb-NO" sz="1400" b="1" i="0">
                          <a:solidFill>
                            <a:schemeClr val="bg1"/>
                          </a:solidFill>
                        </a:rPr>
                        <a:t>Spørsmål og svar</a:t>
                      </a:r>
                      <a:endParaRPr lang="nb-NO" sz="1400" b="0" i="1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01469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i="0">
                          <a:solidFill>
                            <a:schemeClr val="bg1"/>
                          </a:solidFill>
                        </a:rPr>
                        <a:t>30 min</a:t>
                      </a:r>
                    </a:p>
                  </a:txBody>
                  <a:tcPr>
                    <a:solidFill>
                      <a:srgbClr val="0146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90884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682951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AA96A91-1EAD-4D0D-BA78-D730EC797E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10376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AA96A91-1EAD-4D0D-BA78-D730EC797E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C9FBAE6-B04A-42D4-9A99-86927F8956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Læringsmå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8E4BA56-6B5A-4A3C-A988-029EDCF7F2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1385" y="1373098"/>
            <a:ext cx="5977971" cy="2054403"/>
          </a:xfrm>
        </p:spPr>
        <p:txBody>
          <a:bodyPr/>
          <a:lstStyle/>
          <a:p>
            <a:pPr marL="0" indent="0">
              <a:buNone/>
            </a:pPr>
            <a:r>
              <a:rPr lang="nb-NO" i="1"/>
              <a:t>BOTT E-læring for fagrekvirent skal gjøre den ansatte rustet til å gjennomføre bestillinger av varer og tjenester innenfor et ansvarsområde/fagområde gjennom god rolle- og prosessforståelse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C275EA1-620B-4928-99E2-E4770198096F}"/>
              </a:ext>
            </a:extLst>
          </p:cNvPr>
          <p:cNvSpPr/>
          <p:nvPr/>
        </p:nvSpPr>
        <p:spPr>
          <a:xfrm>
            <a:off x="6672263" y="0"/>
            <a:ext cx="2471737" cy="51435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pic>
        <p:nvPicPr>
          <p:cNvPr id="6" name="Graphic 5" descr="Classroom with solid fill">
            <a:extLst>
              <a:ext uri="{FF2B5EF4-FFF2-40B4-BE49-F238E27FC236}">
                <a16:creationId xmlns:a16="http://schemas.microsoft.com/office/drawing/2014/main" id="{3D2D5FF9-A7E0-47E3-A833-BA19189381C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738937" y="1516857"/>
            <a:ext cx="2405063" cy="2405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1227164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FC1000-D606-359A-FFCB-FE7C6F9601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ontaktpunkt - opplær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B40BEB-414E-1333-0E6E-5F9772AB9D0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92773" y="1443722"/>
            <a:ext cx="6199306" cy="1874904"/>
          </a:xfrm>
        </p:spPr>
        <p:txBody>
          <a:bodyPr/>
          <a:lstStyle/>
          <a:p>
            <a:pPr marL="0" indent="0">
              <a:buNone/>
            </a:pPr>
            <a:endParaRPr lang="nb-NO">
              <a:hlinkClick r:id="rId3"/>
            </a:endParaRPr>
          </a:p>
          <a:p>
            <a:pPr marL="0" indent="0">
              <a:buNone/>
            </a:pPr>
            <a:endParaRPr lang="nb-NO">
              <a:hlinkClick r:id="rId3"/>
            </a:endParaRPr>
          </a:p>
          <a:p>
            <a:pPr marL="0" indent="0">
              <a:buNone/>
            </a:pPr>
            <a:r>
              <a:rPr lang="nb-NO" sz="3600">
                <a:hlinkClick r:id="rId3"/>
              </a:rPr>
              <a:t>opplaering-bott-ol@ntnu.no</a:t>
            </a:r>
            <a:endParaRPr lang="nb-NO" sz="3600"/>
          </a:p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43690431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0809FA4-B265-439C-A1D1-65847F8572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0809FA4-B265-439C-A1D1-65847F8572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B720FB8-DC71-4AAD-8500-79831D0430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573" y="205979"/>
            <a:ext cx="8381997" cy="523220"/>
          </a:xfrm>
        </p:spPr>
        <p:txBody>
          <a:bodyPr vert="horz"/>
          <a:lstStyle/>
          <a:p>
            <a:r>
              <a:rPr lang="nb-NO" sz="2800"/>
              <a:t>Hvor kan du finne mer informasj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A3C999-4171-48C8-970D-6FE7968043D0}"/>
              </a:ext>
            </a:extLst>
          </p:cNvPr>
          <p:cNvSpPr txBox="1"/>
          <p:nvPr/>
        </p:nvSpPr>
        <p:spPr>
          <a:xfrm>
            <a:off x="356067" y="1294088"/>
            <a:ext cx="5793526" cy="3385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hlinkClick r:id="rId6"/>
              </a:rPr>
              <a:t>BOTT-samarbeidet.no </a:t>
            </a: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– Alt tilgjengelig materiale utarbeidet av BOTT. Inkluderer prosesskart, rutinebeskrivelse, rollebeskrivelser, lenker til e-læringskurs og brukerskjemaer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hlinkClick r:id="rId7"/>
              </a:rPr>
              <a:t>NTNU Intranettside for innføringsprosjekt </a:t>
            </a: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– Siste nytt, generell informasjon om prosjektet, informasjonspakker </a:t>
            </a:r>
            <a:r>
              <a:rPr kumimoji="0" lang="nb-NO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sv</a:t>
            </a: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hlinkClick r:id="rId8"/>
              </a:rPr>
              <a:t>NTNU Intranettside for opplæring</a:t>
            </a: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Info om opplæringsstruktur, aktuell opplæring per rolle og info om registrering for e-læringskurs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pørsmål om opplæring sendes til: </a:t>
            </a:r>
            <a:r>
              <a:rPr kumimoji="0" lang="nb-NO" sz="1800" b="0" i="0" u="sng" strike="noStrike" kern="1200" cap="none" spc="0" normalizeH="0" baseline="0" noProof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  <a:hlinkClick r:id="rId9"/>
              </a:rPr>
              <a:t>opplaering-bott-ol@ntnu.no</a:t>
            </a: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32313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 </a:t>
            </a: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4FE1B3C-D5AB-42BD-AC61-6A3FE6B47981}"/>
              </a:ext>
            </a:extLst>
          </p:cNvPr>
          <p:cNvSpPr/>
          <p:nvPr/>
        </p:nvSpPr>
        <p:spPr>
          <a:xfrm>
            <a:off x="6803409" y="1"/>
            <a:ext cx="2340591" cy="51435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pic>
        <p:nvPicPr>
          <p:cNvPr id="8" name="Graphic 7" descr="Information outline">
            <a:extLst>
              <a:ext uri="{FF2B5EF4-FFF2-40B4-BE49-F238E27FC236}">
                <a16:creationId xmlns:a16="http://schemas.microsoft.com/office/drawing/2014/main" id="{E11C71C0-1DA1-4476-9978-16C3307FE81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998695" y="1596741"/>
            <a:ext cx="1950017" cy="1950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7319723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ktangel: avrundede hjørner 25">
            <a:extLst>
              <a:ext uri="{FF2B5EF4-FFF2-40B4-BE49-F238E27FC236}">
                <a16:creationId xmlns:a16="http://schemas.microsoft.com/office/drawing/2014/main" id="{2812D653-9479-0897-E4E5-A5E3A3216AEB}"/>
              </a:ext>
            </a:extLst>
          </p:cNvPr>
          <p:cNvSpPr/>
          <p:nvPr/>
        </p:nvSpPr>
        <p:spPr>
          <a:xfrm>
            <a:off x="99753" y="2068235"/>
            <a:ext cx="8770892" cy="303614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24" name="Rektangel: avrundede hjørner 23">
            <a:extLst>
              <a:ext uri="{FF2B5EF4-FFF2-40B4-BE49-F238E27FC236}">
                <a16:creationId xmlns:a16="http://schemas.microsoft.com/office/drawing/2014/main" id="{EEB0FF60-57B3-B5B5-B437-7700A39DFF1D}"/>
              </a:ext>
            </a:extLst>
          </p:cNvPr>
          <p:cNvSpPr/>
          <p:nvPr/>
        </p:nvSpPr>
        <p:spPr>
          <a:xfrm>
            <a:off x="273354" y="938847"/>
            <a:ext cx="4109614" cy="825169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21" name="Rektangel: avrundede hjørner 20">
            <a:extLst>
              <a:ext uri="{FF2B5EF4-FFF2-40B4-BE49-F238E27FC236}">
                <a16:creationId xmlns:a16="http://schemas.microsoft.com/office/drawing/2014/main" id="{3F6D33D0-7225-C0F5-CB19-0841A85BE47C}"/>
              </a:ext>
            </a:extLst>
          </p:cNvPr>
          <p:cNvSpPr/>
          <p:nvPr/>
        </p:nvSpPr>
        <p:spPr>
          <a:xfrm>
            <a:off x="4517570" y="938847"/>
            <a:ext cx="4353075" cy="825169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284B70B-4CD1-438D-93D1-3AE839CA04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284B70B-4CD1-438D-93D1-3AE839CA04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E06121E-CCC9-47B8-883C-1EB475ECD1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1969" y="39120"/>
            <a:ext cx="8381997" cy="646331"/>
          </a:xfrm>
        </p:spPr>
        <p:txBody>
          <a:bodyPr vert="horz"/>
          <a:lstStyle/>
          <a:p>
            <a:r>
              <a:rPr lang="nb-NO"/>
              <a:t>Kontaktpersoner </a:t>
            </a:r>
            <a:r>
              <a:rPr lang="nb-NO" err="1"/>
              <a:t>Btb</a:t>
            </a:r>
            <a:r>
              <a:rPr lang="nb-NO"/>
              <a:t>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2530058-DF58-4DC2-B376-051632FBC83C}"/>
              </a:ext>
            </a:extLst>
          </p:cNvPr>
          <p:cNvSpPr txBox="1"/>
          <p:nvPr/>
        </p:nvSpPr>
        <p:spPr>
          <a:xfrm>
            <a:off x="4517570" y="673373"/>
            <a:ext cx="284988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OTT </a:t>
            </a:r>
            <a:r>
              <a:rPr lang="nb-NO" sz="1100" b="1">
                <a:solidFill>
                  <a:srgbClr val="000000"/>
                </a:solidFill>
                <a:latin typeface="Arial" panose="020B0604020202020204"/>
              </a:rPr>
              <a:t>ØL innføringsprosjekt</a:t>
            </a:r>
            <a:r>
              <a:rPr kumimoji="0" lang="nb-NO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: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011DD68-1936-47D3-BD18-D31D07349EDD}"/>
              </a:ext>
            </a:extLst>
          </p:cNvPr>
          <p:cNvSpPr txBox="1"/>
          <p:nvPr/>
        </p:nvSpPr>
        <p:spPr>
          <a:xfrm>
            <a:off x="273354" y="673373"/>
            <a:ext cx="216010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essansvarlig</a:t>
            </a:r>
            <a:r>
              <a:rPr kumimoji="0" lang="nb-NO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: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8290180-82C2-4316-BA04-E7060D533275}"/>
              </a:ext>
            </a:extLst>
          </p:cNvPr>
          <p:cNvSpPr txBox="1"/>
          <p:nvPr/>
        </p:nvSpPr>
        <p:spPr>
          <a:xfrm>
            <a:off x="326573" y="1743886"/>
            <a:ext cx="268829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essrådgivere:   </a:t>
            </a:r>
          </a:p>
        </p:txBody>
      </p:sp>
      <p:pic>
        <p:nvPicPr>
          <p:cNvPr id="10242" name="Picture 2" descr="profileimage">
            <a:extLst>
              <a:ext uri="{FF2B5EF4-FFF2-40B4-BE49-F238E27FC236}">
                <a16:creationId xmlns:a16="http://schemas.microsoft.com/office/drawing/2014/main" id="{D40C4EF8-CF72-4BD4-A932-DEDD39F6DCC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6212" y="1003863"/>
            <a:ext cx="571394" cy="57139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24E5F2DA-533E-47B1-ADB4-920AEC27EEF1}"/>
              </a:ext>
            </a:extLst>
          </p:cNvPr>
          <p:cNvSpPr txBox="1"/>
          <p:nvPr/>
        </p:nvSpPr>
        <p:spPr>
          <a:xfrm>
            <a:off x="3065138" y="1003863"/>
            <a:ext cx="1941444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ristin Overvik</a:t>
            </a:r>
            <a:b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essansvarlig </a:t>
            </a:r>
            <a:r>
              <a:rPr lang="nb-NO" sz="900">
                <a:solidFill>
                  <a:srgbClr val="000000"/>
                </a:solidFill>
                <a:latin typeface="Arial" panose="020B0604020202020204"/>
              </a:rPr>
              <a:t>B</a:t>
            </a:r>
            <a:r>
              <a:rPr kumimoji="0" lang="nb-NO" sz="9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b</a:t>
            </a: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b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AF9002D-993A-4378-9128-AAE005858092}"/>
              </a:ext>
            </a:extLst>
          </p:cNvPr>
          <p:cNvSpPr txBox="1"/>
          <p:nvPr/>
        </p:nvSpPr>
        <p:spPr>
          <a:xfrm>
            <a:off x="5258407" y="1033992"/>
            <a:ext cx="19414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ry-Lene Johansen</a:t>
            </a: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lprosjektleder P2 </a:t>
            </a:r>
          </a:p>
        </p:txBody>
      </p:sp>
      <p:pic>
        <p:nvPicPr>
          <p:cNvPr id="10244" name="Picture 4" descr="profileimage">
            <a:extLst>
              <a:ext uri="{FF2B5EF4-FFF2-40B4-BE49-F238E27FC236}">
                <a16:creationId xmlns:a16="http://schemas.microsoft.com/office/drawing/2014/main" id="{D9320971-8F30-4151-AFB2-27BEADA100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3785" y="1048255"/>
            <a:ext cx="571394" cy="57139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EF8CF278-C86E-4535-B3F9-DF1C542E2A2F}"/>
              </a:ext>
            </a:extLst>
          </p:cNvPr>
          <p:cNvSpPr txBox="1"/>
          <p:nvPr/>
        </p:nvSpPr>
        <p:spPr>
          <a:xfrm>
            <a:off x="7402765" y="1016190"/>
            <a:ext cx="138063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hristina Horvei (Deloitte)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jektressurs P2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</p:txBody>
      </p:sp>
      <p:pic>
        <p:nvPicPr>
          <p:cNvPr id="10248" name="Picture 8" descr="profileimage">
            <a:extLst>
              <a:ext uri="{FF2B5EF4-FFF2-40B4-BE49-F238E27FC236}">
                <a16:creationId xmlns:a16="http://schemas.microsoft.com/office/drawing/2014/main" id="{C93419C7-EA02-4870-BF98-14C4F9917F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95394" y="2295945"/>
            <a:ext cx="576000" cy="576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596EFC2A-38BE-4E7C-A558-F5F18D5A8A2C}"/>
              </a:ext>
            </a:extLst>
          </p:cNvPr>
          <p:cNvSpPr txBox="1"/>
          <p:nvPr/>
        </p:nvSpPr>
        <p:spPr>
          <a:xfrm>
            <a:off x="3083534" y="2340563"/>
            <a:ext cx="1680887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enche Wilhelmsen Finseth</a:t>
            </a: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essrådgiver IV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E1744C0-F0DC-441B-BC79-B87E74D5D221}"/>
              </a:ext>
            </a:extLst>
          </p:cNvPr>
          <p:cNvSpPr txBox="1"/>
          <p:nvPr/>
        </p:nvSpPr>
        <p:spPr>
          <a:xfrm>
            <a:off x="7487836" y="2409812"/>
            <a:ext cx="19414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rianne Storset</a:t>
            </a:r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essrådgiver MH</a:t>
            </a:r>
          </a:p>
        </p:txBody>
      </p:sp>
      <p:pic>
        <p:nvPicPr>
          <p:cNvPr id="10250" name="Picture 10" descr="profileimage">
            <a:extLst>
              <a:ext uri="{FF2B5EF4-FFF2-40B4-BE49-F238E27FC236}">
                <a16:creationId xmlns:a16="http://schemas.microsoft.com/office/drawing/2014/main" id="{09AAC7DC-D167-474C-8656-BAA3A14503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896" y="2295945"/>
            <a:ext cx="576000" cy="576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473B5C00-B533-47B1-9A3F-3C016CFF4803}"/>
              </a:ext>
            </a:extLst>
          </p:cNvPr>
          <p:cNvSpPr txBox="1"/>
          <p:nvPr/>
        </p:nvSpPr>
        <p:spPr>
          <a:xfrm>
            <a:off x="978159" y="2271313"/>
            <a:ext cx="146673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ristin Brevik Antonsen</a:t>
            </a:r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essrådgiver Felles adm.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3C3425A-DD74-4EB1-9978-72B808175916}"/>
              </a:ext>
            </a:extLst>
          </p:cNvPr>
          <p:cNvSpPr txBox="1"/>
          <p:nvPr/>
        </p:nvSpPr>
        <p:spPr>
          <a:xfrm>
            <a:off x="5310477" y="2409812"/>
            <a:ext cx="13446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andi Leikvold</a:t>
            </a:r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essrådgiver ØK</a:t>
            </a:r>
          </a:p>
        </p:txBody>
      </p:sp>
      <p:pic>
        <p:nvPicPr>
          <p:cNvPr id="10252" name="Picture 12" descr="profileimage">
            <a:extLst>
              <a:ext uri="{FF2B5EF4-FFF2-40B4-BE49-F238E27FC236}">
                <a16:creationId xmlns:a16="http://schemas.microsoft.com/office/drawing/2014/main" id="{8A16C6DA-003A-40DE-9D0B-FF396ED94D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9766" y="3680973"/>
            <a:ext cx="576000" cy="576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9A993E49-D03F-4B0D-AD25-2240CF25C60A}"/>
              </a:ext>
            </a:extLst>
          </p:cNvPr>
          <p:cNvSpPr txBox="1"/>
          <p:nvPr/>
        </p:nvSpPr>
        <p:spPr>
          <a:xfrm>
            <a:off x="7487836" y="3730514"/>
            <a:ext cx="19414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na Gulla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essrådgiver VM</a:t>
            </a:r>
          </a:p>
        </p:txBody>
      </p:sp>
      <p:pic>
        <p:nvPicPr>
          <p:cNvPr id="10254" name="Picture 14" descr="profileimage">
            <a:extLst>
              <a:ext uri="{FF2B5EF4-FFF2-40B4-BE49-F238E27FC236}">
                <a16:creationId xmlns:a16="http://schemas.microsoft.com/office/drawing/2014/main" id="{2BBD268E-29E7-4107-9289-9D9F5B666A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2407" y="2988134"/>
            <a:ext cx="576000" cy="576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2C54433A-3E46-4EA5-A04A-C6D2BD078269}"/>
              </a:ext>
            </a:extLst>
          </p:cNvPr>
          <p:cNvSpPr txBox="1"/>
          <p:nvPr/>
        </p:nvSpPr>
        <p:spPr>
          <a:xfrm>
            <a:off x="5310477" y="3088242"/>
            <a:ext cx="19414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ecilie Heimdal</a:t>
            </a:r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essrådgiver HF</a:t>
            </a:r>
          </a:p>
        </p:txBody>
      </p:sp>
      <p:pic>
        <p:nvPicPr>
          <p:cNvPr id="10256" name="Picture 16" descr="profileimage">
            <a:extLst>
              <a:ext uri="{FF2B5EF4-FFF2-40B4-BE49-F238E27FC236}">
                <a16:creationId xmlns:a16="http://schemas.microsoft.com/office/drawing/2014/main" id="{25B79EF7-4FD9-4AC1-A0B4-1D06A82065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2756" y="3680973"/>
            <a:ext cx="576000" cy="576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EFEC821B-6892-41AC-9CFE-951B094BBDEC}"/>
              </a:ext>
            </a:extLst>
          </p:cNvPr>
          <p:cNvSpPr txBox="1"/>
          <p:nvPr/>
        </p:nvSpPr>
        <p:spPr>
          <a:xfrm>
            <a:off x="5310477" y="3730514"/>
            <a:ext cx="1941444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ne-Grethe Nilsen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essrådgiver NV</a:t>
            </a:r>
            <a:b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0260" name="Picture 20" descr="profileimage">
            <a:extLst>
              <a:ext uri="{FF2B5EF4-FFF2-40B4-BE49-F238E27FC236}">
                <a16:creationId xmlns:a16="http://schemas.microsoft.com/office/drawing/2014/main" id="{0EF70D19-F4ED-4524-A8AD-AEFAFD6F98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8608" y="2295945"/>
            <a:ext cx="576000" cy="576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E4E4DEBF-BC79-4108-B28F-86CF32A8E368}"/>
              </a:ext>
            </a:extLst>
          </p:cNvPr>
          <p:cNvSpPr txBox="1"/>
          <p:nvPr/>
        </p:nvSpPr>
        <p:spPr>
          <a:xfrm>
            <a:off x="988838" y="1009469"/>
            <a:ext cx="13446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ren Ellingsberg</a:t>
            </a:r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essansvarlig </a:t>
            </a:r>
            <a:r>
              <a:rPr lang="nb-NO" sz="900">
                <a:solidFill>
                  <a:srgbClr val="000000"/>
                </a:solidFill>
                <a:latin typeface="Arial" panose="020B0604020202020204"/>
              </a:rPr>
              <a:t>B</a:t>
            </a:r>
            <a:r>
              <a:rPr kumimoji="0" lang="nb-NO" sz="9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b</a:t>
            </a:r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663C604E-77A8-46D0-AF24-EA0FA6B04909}"/>
              </a:ext>
            </a:extLst>
          </p:cNvPr>
          <p:cNvSpPr txBox="1"/>
          <p:nvPr/>
        </p:nvSpPr>
        <p:spPr>
          <a:xfrm>
            <a:off x="3083534" y="3088242"/>
            <a:ext cx="174289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ilje Storsul</a:t>
            </a:r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essrådgiver IV</a:t>
            </a:r>
          </a:p>
        </p:txBody>
      </p:sp>
      <p:pic>
        <p:nvPicPr>
          <p:cNvPr id="10262" name="Picture 22" descr="profileimage">
            <a:extLst>
              <a:ext uri="{FF2B5EF4-FFF2-40B4-BE49-F238E27FC236}">
                <a16:creationId xmlns:a16="http://schemas.microsoft.com/office/drawing/2014/main" id="{66292979-2FD5-42C3-A040-CCCEB802A4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067" y="1009469"/>
            <a:ext cx="576000" cy="576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3EB982FB-B70D-46F5-BC46-9B5CCF5779E2}"/>
              </a:ext>
            </a:extLst>
          </p:cNvPr>
          <p:cNvSpPr txBox="1"/>
          <p:nvPr/>
        </p:nvSpPr>
        <p:spPr>
          <a:xfrm>
            <a:off x="978159" y="3730514"/>
            <a:ext cx="19414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Åse Vibeke Belsvik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essrådgiver IE</a:t>
            </a:r>
          </a:p>
        </p:txBody>
      </p:sp>
      <p:pic>
        <p:nvPicPr>
          <p:cNvPr id="10264" name="Picture 24" descr="profileimage">
            <a:extLst>
              <a:ext uri="{FF2B5EF4-FFF2-40B4-BE49-F238E27FC236}">
                <a16:creationId xmlns:a16="http://schemas.microsoft.com/office/drawing/2014/main" id="{B3FBB334-78F1-4C1C-9A8C-7D57517C29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9766" y="2988134"/>
            <a:ext cx="576000" cy="576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2ECFC784-016A-4F73-8486-F8E30E02B145}"/>
              </a:ext>
            </a:extLst>
          </p:cNvPr>
          <p:cNvSpPr txBox="1"/>
          <p:nvPr/>
        </p:nvSpPr>
        <p:spPr>
          <a:xfrm>
            <a:off x="7487836" y="3018993"/>
            <a:ext cx="1941444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ud Marit Lervik</a:t>
            </a:r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essrådgiver SU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fungerende)</a:t>
            </a:r>
          </a:p>
        </p:txBody>
      </p:sp>
      <p:pic>
        <p:nvPicPr>
          <p:cNvPr id="10266" name="Picture 26" descr="profileimage">
            <a:extLst>
              <a:ext uri="{FF2B5EF4-FFF2-40B4-BE49-F238E27FC236}">
                <a16:creationId xmlns:a16="http://schemas.microsoft.com/office/drawing/2014/main" id="{B9073208-E508-4B4B-A54C-EE2F786B41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95394" y="2988134"/>
            <a:ext cx="576000" cy="576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5C8A24DC-D8C1-4806-A264-29F759864BD0}"/>
              </a:ext>
            </a:extLst>
          </p:cNvPr>
          <p:cNvSpPr/>
          <p:nvPr/>
        </p:nvSpPr>
        <p:spPr>
          <a:xfrm>
            <a:off x="414896" y="3680973"/>
            <a:ext cx="576000" cy="576000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755BD314-E573-4FE8-BFFE-F580DB83C9CB}"/>
              </a:ext>
            </a:extLst>
          </p:cNvPr>
          <p:cNvSpPr/>
          <p:nvPr/>
        </p:nvSpPr>
        <p:spPr>
          <a:xfrm>
            <a:off x="6862533" y="2295945"/>
            <a:ext cx="576000" cy="576000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89932574-B47A-4D5E-92F7-D18556BC1974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 rotWithShape="1">
          <a:blip r:embed="rId18"/>
          <a:srcRect/>
          <a:stretch/>
        </p:blipFill>
        <p:spPr>
          <a:xfrm>
            <a:off x="6791379" y="1041628"/>
            <a:ext cx="576000" cy="576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E4B883FB-F23F-B092-80EE-DE5325E882C1}"/>
              </a:ext>
            </a:extLst>
          </p:cNvPr>
          <p:cNvPicPr>
            <a:picLocks noChangeAspect="1"/>
          </p:cNvPicPr>
          <p:nvPr/>
        </p:nvPicPr>
        <p:blipFill rotWithShape="1"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913"/>
          <a:stretch/>
        </p:blipFill>
        <p:spPr>
          <a:xfrm>
            <a:off x="414896" y="2988134"/>
            <a:ext cx="576000" cy="64355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0" name="TextBox 39">
            <a:extLst>
              <a:ext uri="{FF2B5EF4-FFF2-40B4-BE49-F238E27FC236}">
                <a16:creationId xmlns:a16="http://schemas.microsoft.com/office/drawing/2014/main" id="{AA44F5EB-15DE-C133-1AB1-52E37BA3012C}"/>
              </a:ext>
            </a:extLst>
          </p:cNvPr>
          <p:cNvSpPr txBox="1"/>
          <p:nvPr/>
        </p:nvSpPr>
        <p:spPr>
          <a:xfrm>
            <a:off x="978159" y="3088242"/>
            <a:ext cx="12886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anna Sundli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essrådgiver MH</a:t>
            </a:r>
          </a:p>
        </p:txBody>
      </p:sp>
      <p:sp>
        <p:nvSpPr>
          <p:cNvPr id="5" name="TextBox 29">
            <a:extLst>
              <a:ext uri="{FF2B5EF4-FFF2-40B4-BE49-F238E27FC236}">
                <a16:creationId xmlns:a16="http://schemas.microsoft.com/office/drawing/2014/main" id="{6B7B622E-8FCA-84CF-92DC-4AD9AAE75639}"/>
              </a:ext>
            </a:extLst>
          </p:cNvPr>
          <p:cNvSpPr txBox="1"/>
          <p:nvPr/>
        </p:nvSpPr>
        <p:spPr>
          <a:xfrm>
            <a:off x="3083534" y="4396494"/>
            <a:ext cx="19414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Yana Bezdudna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essrådgiver AD</a:t>
            </a:r>
          </a:p>
        </p:txBody>
      </p:sp>
      <p:pic>
        <p:nvPicPr>
          <p:cNvPr id="6" name="Picture 18" descr="profileimage">
            <a:extLst>
              <a:ext uri="{FF2B5EF4-FFF2-40B4-BE49-F238E27FC236}">
                <a16:creationId xmlns:a16="http://schemas.microsoft.com/office/drawing/2014/main" id="{875564D1-21A5-E516-AC9F-BDC5B4F5E3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95394" y="4270386"/>
            <a:ext cx="576000" cy="576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13">
            <a:extLst>
              <a:ext uri="{FF2B5EF4-FFF2-40B4-BE49-F238E27FC236}">
                <a16:creationId xmlns:a16="http://schemas.microsoft.com/office/drawing/2014/main" id="{1B0321B2-C6D1-E2E9-7961-5E4196A37D9A}"/>
              </a:ext>
            </a:extLst>
          </p:cNvPr>
          <p:cNvSpPr/>
          <p:nvPr/>
        </p:nvSpPr>
        <p:spPr>
          <a:xfrm>
            <a:off x="2495394" y="3622783"/>
            <a:ext cx="576000" cy="576000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extBox 35">
            <a:extLst>
              <a:ext uri="{FF2B5EF4-FFF2-40B4-BE49-F238E27FC236}">
                <a16:creationId xmlns:a16="http://schemas.microsoft.com/office/drawing/2014/main" id="{8DC4DAA2-7E65-EEF2-F073-49B70D715557}"/>
              </a:ext>
            </a:extLst>
          </p:cNvPr>
          <p:cNvSpPr txBox="1"/>
          <p:nvPr/>
        </p:nvSpPr>
        <p:spPr>
          <a:xfrm>
            <a:off x="3083534" y="3730514"/>
            <a:ext cx="19414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egard </a:t>
            </a:r>
            <a:r>
              <a:rPr kumimoji="0" lang="nb-NO" sz="9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estavik</a:t>
            </a:r>
            <a:endParaRPr kumimoji="0" lang="nb-NO" sz="9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essrådgiver IV</a:t>
            </a:r>
          </a:p>
        </p:txBody>
      </p:sp>
      <p:pic>
        <p:nvPicPr>
          <p:cNvPr id="15" name="Plassholder for bilde 5" descr="Guri Schjølberg - innsida.ntnu.no">
            <a:extLst>
              <a:ext uri="{FF2B5EF4-FFF2-40B4-BE49-F238E27FC236}">
                <a16:creationId xmlns:a16="http://schemas.microsoft.com/office/drawing/2014/main" id="{383F6389-AD02-BC68-AD2C-47B5672D6752}"/>
              </a:ext>
            </a:extLst>
          </p:cNvPr>
          <p:cNvPicPr>
            <a:picLocks noChangeAspect="1"/>
          </p:cNvPicPr>
          <p:nvPr/>
        </p:nvPicPr>
        <p:blipFill>
          <a:blip r:embed="rId21"/>
          <a:srcRect/>
          <a:stretch>
            <a:fillRect/>
          </a:stretch>
        </p:blipFill>
        <p:spPr>
          <a:xfrm>
            <a:off x="405817" y="4320264"/>
            <a:ext cx="594159" cy="62466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8" name="TextBox 35">
            <a:extLst>
              <a:ext uri="{FF2B5EF4-FFF2-40B4-BE49-F238E27FC236}">
                <a16:creationId xmlns:a16="http://schemas.microsoft.com/office/drawing/2014/main" id="{F7428C77-6734-FB73-197E-38244BFB7977}"/>
              </a:ext>
            </a:extLst>
          </p:cNvPr>
          <p:cNvSpPr txBox="1"/>
          <p:nvPr/>
        </p:nvSpPr>
        <p:spPr>
          <a:xfrm>
            <a:off x="978159" y="4396494"/>
            <a:ext cx="19414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900" b="1">
                <a:solidFill>
                  <a:srgbClr val="000000"/>
                </a:solidFill>
                <a:latin typeface="Arial" panose="020B0604020202020204"/>
              </a:rPr>
              <a:t>Guri Schjølberg</a:t>
            </a:r>
            <a:endParaRPr kumimoji="0" lang="nb-NO" sz="9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essrådgiver IE</a:t>
            </a:r>
          </a:p>
        </p:txBody>
      </p:sp>
    </p:spTree>
    <p:extLst>
      <p:ext uri="{BB962C8B-B14F-4D97-AF65-F5344CB8AC3E}">
        <p14:creationId xmlns:p14="http://schemas.microsoft.com/office/powerpoint/2010/main" val="3394751044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05A046F-C2A3-4431-9059-86CB6D68D80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05A046F-C2A3-4431-9059-86CB6D68D8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9794632-94F0-451D-972B-025EC8E86D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Spørsmål og svar</a:t>
            </a:r>
          </a:p>
        </p:txBody>
      </p:sp>
      <p:pic>
        <p:nvPicPr>
          <p:cNvPr id="4" name="Graphic 3" descr="Questions with solid fill">
            <a:extLst>
              <a:ext uri="{FF2B5EF4-FFF2-40B4-BE49-F238E27FC236}">
                <a16:creationId xmlns:a16="http://schemas.microsoft.com/office/drawing/2014/main" id="{E1926C42-1E95-42F2-92E2-23C6EC6ECC5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48794" y="1125958"/>
            <a:ext cx="3322502" cy="3322502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2513F58B-14C9-8BC6-7959-E28EDE9CCABB}"/>
              </a:ext>
            </a:extLst>
          </p:cNvPr>
          <p:cNvSpPr txBox="1"/>
          <p:nvPr/>
        </p:nvSpPr>
        <p:spPr>
          <a:xfrm>
            <a:off x="439200" y="1728000"/>
            <a:ext cx="36144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3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å til menti.com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3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ode: </a:t>
            </a:r>
            <a:r>
              <a:rPr kumimoji="0" lang="nb-NO" sz="3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873 2589</a:t>
            </a:r>
            <a:endParaRPr kumimoji="0" lang="nb-NO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34961697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2755EC8-3F9A-40C6-992B-5654BC16EDB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46816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2755EC8-3F9A-40C6-992B-5654BC16ED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48A1596-FDAC-4A10-8206-13DB956AB4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008" y="1700380"/>
            <a:ext cx="8229600" cy="2123658"/>
          </a:xfr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vert="horz"/>
          <a:lstStyle/>
          <a:p>
            <a:pPr algn="ctr"/>
            <a:r>
              <a:rPr lang="nb-NO" sz="4400"/>
              <a:t>Takk for møtet </a:t>
            </a:r>
            <a:br>
              <a:rPr lang="nb-NO" sz="4400"/>
            </a:br>
            <a:r>
              <a:rPr lang="nb-NO" sz="4400"/>
              <a:t>og </a:t>
            </a:r>
            <a:br>
              <a:rPr lang="nb-NO" sz="4400"/>
            </a:br>
            <a:r>
              <a:rPr lang="nb-NO" sz="4400"/>
              <a:t>velkommen neste gang </a:t>
            </a:r>
            <a:r>
              <a:rPr lang="nb-NO" sz="4400">
                <a:sym typeface="Wingdings" panose="05000000000000000000" pitchFamily="2" charset="2"/>
              </a:rPr>
              <a:t></a:t>
            </a:r>
            <a:endParaRPr lang="nb-NO" sz="4400"/>
          </a:p>
        </p:txBody>
      </p:sp>
    </p:spTree>
    <p:extLst>
      <p:ext uri="{BB962C8B-B14F-4D97-AF65-F5344CB8AC3E}">
        <p14:creationId xmlns:p14="http://schemas.microsoft.com/office/powerpoint/2010/main" val="29198420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D70F9FB-5F20-441C-8897-867FBE816DF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D70F9FB-5F20-441C-8897-867FBE816D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6378539-3F38-4D32-842A-D187FA5FB7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573" y="205979"/>
            <a:ext cx="8381997" cy="707886"/>
          </a:xfrm>
        </p:spPr>
        <p:txBody>
          <a:bodyPr vert="horz"/>
          <a:lstStyle/>
          <a:p>
            <a:r>
              <a:rPr lang="nb-NO" sz="2000"/>
              <a:t>Intro til Btb-prosessen: Prosessflyt - Opprettelse av innkjøpeforespørsel og varemottak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252D9ED-9F28-492E-86D7-7E4CE6F54C73}"/>
              </a:ext>
            </a:extLst>
          </p:cNvPr>
          <p:cNvGrpSpPr/>
          <p:nvPr/>
        </p:nvGrpSpPr>
        <p:grpSpPr>
          <a:xfrm>
            <a:off x="5877357" y="1877158"/>
            <a:ext cx="1080259" cy="1140599"/>
            <a:chOff x="3467100" y="1822704"/>
            <a:chExt cx="1417447" cy="1481455"/>
          </a:xfrm>
        </p:grpSpPr>
        <p:sp>
          <p:nvSpPr>
            <p:cNvPr id="93" name="object 17">
              <a:extLst>
                <a:ext uri="{FF2B5EF4-FFF2-40B4-BE49-F238E27FC236}">
                  <a16:creationId xmlns:a16="http://schemas.microsoft.com/office/drawing/2014/main" id="{4606D1BC-8B67-402C-808E-F84CC1E8C88F}"/>
                </a:ext>
              </a:extLst>
            </p:cNvPr>
            <p:cNvSpPr/>
            <p:nvPr/>
          </p:nvSpPr>
          <p:spPr>
            <a:xfrm>
              <a:off x="3550284" y="1898904"/>
              <a:ext cx="1259840" cy="1405255"/>
            </a:xfrm>
            <a:custGeom>
              <a:avLst/>
              <a:gdLst/>
              <a:ahLst/>
              <a:cxnLst/>
              <a:rect l="l" t="t" r="r" b="b"/>
              <a:pathLst>
                <a:path w="1259839" h="1405254">
                  <a:moveTo>
                    <a:pt x="556132" y="0"/>
                  </a:moveTo>
                  <a:lnTo>
                    <a:pt x="604293" y="1620"/>
                  </a:lnTo>
                  <a:lnTo>
                    <a:pt x="651582" y="6414"/>
                  </a:lnTo>
                  <a:lnTo>
                    <a:pt x="697894" y="14274"/>
                  </a:lnTo>
                  <a:lnTo>
                    <a:pt x="743124" y="25098"/>
                  </a:lnTo>
                  <a:lnTo>
                    <a:pt x="787169" y="38780"/>
                  </a:lnTo>
                  <a:lnTo>
                    <a:pt x="829923" y="55215"/>
                  </a:lnTo>
                  <a:lnTo>
                    <a:pt x="871281" y="74299"/>
                  </a:lnTo>
                  <a:lnTo>
                    <a:pt x="911140" y="95927"/>
                  </a:lnTo>
                  <a:lnTo>
                    <a:pt x="949394" y="119994"/>
                  </a:lnTo>
                  <a:lnTo>
                    <a:pt x="985938" y="146397"/>
                  </a:lnTo>
                  <a:lnTo>
                    <a:pt x="1020669" y="175029"/>
                  </a:lnTo>
                  <a:lnTo>
                    <a:pt x="1053480" y="205787"/>
                  </a:lnTo>
                  <a:lnTo>
                    <a:pt x="1084269" y="238566"/>
                  </a:lnTo>
                  <a:lnTo>
                    <a:pt x="1112929" y="273261"/>
                  </a:lnTo>
                  <a:lnTo>
                    <a:pt x="1139356" y="309767"/>
                  </a:lnTo>
                  <a:lnTo>
                    <a:pt x="1163447" y="347980"/>
                  </a:lnTo>
                  <a:lnTo>
                    <a:pt x="1185094" y="387794"/>
                  </a:lnTo>
                  <a:lnTo>
                    <a:pt x="1204196" y="429107"/>
                  </a:lnTo>
                  <a:lnTo>
                    <a:pt x="1220645" y="471812"/>
                  </a:lnTo>
                  <a:lnTo>
                    <a:pt x="1234339" y="515805"/>
                  </a:lnTo>
                  <a:lnTo>
                    <a:pt x="1245172" y="560981"/>
                  </a:lnTo>
                  <a:lnTo>
                    <a:pt x="1253039" y="607236"/>
                  </a:lnTo>
                  <a:lnTo>
                    <a:pt x="1257836" y="654465"/>
                  </a:lnTo>
                  <a:lnTo>
                    <a:pt x="1259459" y="702563"/>
                  </a:lnTo>
                  <a:lnTo>
                    <a:pt x="1257836" y="750662"/>
                  </a:lnTo>
                  <a:lnTo>
                    <a:pt x="1253039" y="797891"/>
                  </a:lnTo>
                  <a:lnTo>
                    <a:pt x="1245172" y="844146"/>
                  </a:lnTo>
                  <a:lnTo>
                    <a:pt x="1234339" y="889322"/>
                  </a:lnTo>
                  <a:lnTo>
                    <a:pt x="1220645" y="933315"/>
                  </a:lnTo>
                  <a:lnTo>
                    <a:pt x="1204196" y="976020"/>
                  </a:lnTo>
                  <a:lnTo>
                    <a:pt x="1185094" y="1017333"/>
                  </a:lnTo>
                  <a:lnTo>
                    <a:pt x="1163447" y="1057147"/>
                  </a:lnTo>
                  <a:lnTo>
                    <a:pt x="1139356" y="1095360"/>
                  </a:lnTo>
                  <a:lnTo>
                    <a:pt x="1112929" y="1131866"/>
                  </a:lnTo>
                  <a:lnTo>
                    <a:pt x="1084269" y="1166561"/>
                  </a:lnTo>
                  <a:lnTo>
                    <a:pt x="1053480" y="1199340"/>
                  </a:lnTo>
                  <a:lnTo>
                    <a:pt x="1020669" y="1230098"/>
                  </a:lnTo>
                  <a:lnTo>
                    <a:pt x="985938" y="1258730"/>
                  </a:lnTo>
                  <a:lnTo>
                    <a:pt x="949394" y="1285133"/>
                  </a:lnTo>
                  <a:lnTo>
                    <a:pt x="911140" y="1309200"/>
                  </a:lnTo>
                  <a:lnTo>
                    <a:pt x="871281" y="1330828"/>
                  </a:lnTo>
                  <a:lnTo>
                    <a:pt x="829923" y="1349912"/>
                  </a:lnTo>
                  <a:lnTo>
                    <a:pt x="787169" y="1366347"/>
                  </a:lnTo>
                  <a:lnTo>
                    <a:pt x="743124" y="1380029"/>
                  </a:lnTo>
                  <a:lnTo>
                    <a:pt x="697894" y="1390853"/>
                  </a:lnTo>
                  <a:lnTo>
                    <a:pt x="651582" y="1398713"/>
                  </a:lnTo>
                  <a:lnTo>
                    <a:pt x="604293" y="1403507"/>
                  </a:lnTo>
                  <a:lnTo>
                    <a:pt x="556132" y="1405128"/>
                  </a:lnTo>
                  <a:lnTo>
                    <a:pt x="506172" y="1403355"/>
                  </a:lnTo>
                  <a:lnTo>
                    <a:pt x="456808" y="1398092"/>
                  </a:lnTo>
                  <a:lnTo>
                    <a:pt x="408205" y="1389418"/>
                  </a:lnTo>
                  <a:lnTo>
                    <a:pt x="360525" y="1377414"/>
                  </a:lnTo>
                  <a:lnTo>
                    <a:pt x="313933" y="1362159"/>
                  </a:lnTo>
                  <a:lnTo>
                    <a:pt x="268593" y="1343733"/>
                  </a:lnTo>
                  <a:lnTo>
                    <a:pt x="224667" y="1322217"/>
                  </a:lnTo>
                  <a:lnTo>
                    <a:pt x="182321" y="1297691"/>
                  </a:lnTo>
                  <a:lnTo>
                    <a:pt x="141717" y="1270235"/>
                  </a:lnTo>
                  <a:lnTo>
                    <a:pt x="103019" y="1239929"/>
                  </a:lnTo>
                  <a:lnTo>
                    <a:pt x="66391" y="1206853"/>
                  </a:lnTo>
                  <a:lnTo>
                    <a:pt x="31997" y="1171088"/>
                  </a:lnTo>
                  <a:lnTo>
                    <a:pt x="0" y="1132713"/>
                  </a:lnTo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94" name="object 18">
              <a:extLst>
                <a:ext uri="{FF2B5EF4-FFF2-40B4-BE49-F238E27FC236}">
                  <a16:creationId xmlns:a16="http://schemas.microsoft.com/office/drawing/2014/main" id="{39D84A9D-EAEA-4340-A3C3-C21E208CFB7E}"/>
                </a:ext>
              </a:extLst>
            </p:cNvPr>
            <p:cNvSpPr/>
            <p:nvPr/>
          </p:nvSpPr>
          <p:spPr>
            <a:xfrm>
              <a:off x="3467100" y="1962911"/>
              <a:ext cx="1278890" cy="1277620"/>
            </a:xfrm>
            <a:custGeom>
              <a:avLst/>
              <a:gdLst/>
              <a:ahLst/>
              <a:cxnLst/>
              <a:rect l="l" t="t" r="r" b="b"/>
              <a:pathLst>
                <a:path w="1278889" h="1277620">
                  <a:moveTo>
                    <a:pt x="639317" y="0"/>
                  </a:moveTo>
                  <a:lnTo>
                    <a:pt x="687027" y="1751"/>
                  </a:lnTo>
                  <a:lnTo>
                    <a:pt x="733785" y="6923"/>
                  </a:lnTo>
                  <a:lnTo>
                    <a:pt x="779468" y="15392"/>
                  </a:lnTo>
                  <a:lnTo>
                    <a:pt x="823952" y="27034"/>
                  </a:lnTo>
                  <a:lnTo>
                    <a:pt x="867112" y="41727"/>
                  </a:lnTo>
                  <a:lnTo>
                    <a:pt x="908827" y="59346"/>
                  </a:lnTo>
                  <a:lnTo>
                    <a:pt x="948971" y="79769"/>
                  </a:lnTo>
                  <a:lnTo>
                    <a:pt x="987422" y="102871"/>
                  </a:lnTo>
                  <a:lnTo>
                    <a:pt x="1024055" y="128530"/>
                  </a:lnTo>
                  <a:lnTo>
                    <a:pt x="1058747" y="156622"/>
                  </a:lnTo>
                  <a:lnTo>
                    <a:pt x="1091374" y="187023"/>
                  </a:lnTo>
                  <a:lnTo>
                    <a:pt x="1121813" y="219610"/>
                  </a:lnTo>
                  <a:lnTo>
                    <a:pt x="1149940" y="254260"/>
                  </a:lnTo>
                  <a:lnTo>
                    <a:pt x="1175631" y="290849"/>
                  </a:lnTo>
                  <a:lnTo>
                    <a:pt x="1198763" y="329253"/>
                  </a:lnTo>
                  <a:lnTo>
                    <a:pt x="1219212" y="369350"/>
                  </a:lnTo>
                  <a:lnTo>
                    <a:pt x="1236854" y="411016"/>
                  </a:lnTo>
                  <a:lnTo>
                    <a:pt x="1251565" y="454127"/>
                  </a:lnTo>
                  <a:lnTo>
                    <a:pt x="1263223" y="498560"/>
                  </a:lnTo>
                  <a:lnTo>
                    <a:pt x="1271703" y="544191"/>
                  </a:lnTo>
                  <a:lnTo>
                    <a:pt x="1276882" y="590898"/>
                  </a:lnTo>
                  <a:lnTo>
                    <a:pt x="1278636" y="638555"/>
                  </a:lnTo>
                  <a:lnTo>
                    <a:pt x="1276882" y="686213"/>
                  </a:lnTo>
                  <a:lnTo>
                    <a:pt x="1271703" y="732920"/>
                  </a:lnTo>
                  <a:lnTo>
                    <a:pt x="1263223" y="778551"/>
                  </a:lnTo>
                  <a:lnTo>
                    <a:pt x="1251565" y="822984"/>
                  </a:lnTo>
                  <a:lnTo>
                    <a:pt x="1236854" y="866095"/>
                  </a:lnTo>
                  <a:lnTo>
                    <a:pt x="1219212" y="907761"/>
                  </a:lnTo>
                  <a:lnTo>
                    <a:pt x="1198763" y="947858"/>
                  </a:lnTo>
                  <a:lnTo>
                    <a:pt x="1175631" y="986262"/>
                  </a:lnTo>
                  <a:lnTo>
                    <a:pt x="1149940" y="1022851"/>
                  </a:lnTo>
                  <a:lnTo>
                    <a:pt x="1121813" y="1057501"/>
                  </a:lnTo>
                  <a:lnTo>
                    <a:pt x="1091374" y="1090088"/>
                  </a:lnTo>
                  <a:lnTo>
                    <a:pt x="1058747" y="1120489"/>
                  </a:lnTo>
                  <a:lnTo>
                    <a:pt x="1024055" y="1148581"/>
                  </a:lnTo>
                  <a:lnTo>
                    <a:pt x="987422" y="1174240"/>
                  </a:lnTo>
                  <a:lnTo>
                    <a:pt x="948971" y="1197342"/>
                  </a:lnTo>
                  <a:lnTo>
                    <a:pt x="908827" y="1217765"/>
                  </a:lnTo>
                  <a:lnTo>
                    <a:pt x="867112" y="1235384"/>
                  </a:lnTo>
                  <a:lnTo>
                    <a:pt x="823952" y="1250077"/>
                  </a:lnTo>
                  <a:lnTo>
                    <a:pt x="779468" y="1261719"/>
                  </a:lnTo>
                  <a:lnTo>
                    <a:pt x="733785" y="1270188"/>
                  </a:lnTo>
                  <a:lnTo>
                    <a:pt x="687027" y="1275360"/>
                  </a:lnTo>
                  <a:lnTo>
                    <a:pt x="639317" y="1277112"/>
                  </a:lnTo>
                  <a:lnTo>
                    <a:pt x="591608" y="1275360"/>
                  </a:lnTo>
                  <a:lnTo>
                    <a:pt x="544850" y="1270188"/>
                  </a:lnTo>
                  <a:lnTo>
                    <a:pt x="499167" y="1261719"/>
                  </a:lnTo>
                  <a:lnTo>
                    <a:pt x="454683" y="1250077"/>
                  </a:lnTo>
                  <a:lnTo>
                    <a:pt x="411523" y="1235384"/>
                  </a:lnTo>
                  <a:lnTo>
                    <a:pt x="369808" y="1217765"/>
                  </a:lnTo>
                  <a:lnTo>
                    <a:pt x="329664" y="1197342"/>
                  </a:lnTo>
                  <a:lnTo>
                    <a:pt x="291213" y="1174240"/>
                  </a:lnTo>
                  <a:lnTo>
                    <a:pt x="254580" y="1148581"/>
                  </a:lnTo>
                  <a:lnTo>
                    <a:pt x="219888" y="1120489"/>
                  </a:lnTo>
                  <a:lnTo>
                    <a:pt x="187261" y="1090088"/>
                  </a:lnTo>
                  <a:lnTo>
                    <a:pt x="156822" y="1057501"/>
                  </a:lnTo>
                  <a:lnTo>
                    <a:pt x="128695" y="1022851"/>
                  </a:lnTo>
                  <a:lnTo>
                    <a:pt x="103004" y="986262"/>
                  </a:lnTo>
                  <a:lnTo>
                    <a:pt x="79872" y="947858"/>
                  </a:lnTo>
                  <a:lnTo>
                    <a:pt x="59423" y="907761"/>
                  </a:lnTo>
                  <a:lnTo>
                    <a:pt x="41781" y="866095"/>
                  </a:lnTo>
                  <a:lnTo>
                    <a:pt x="27070" y="822984"/>
                  </a:lnTo>
                  <a:lnTo>
                    <a:pt x="15412" y="778551"/>
                  </a:lnTo>
                  <a:lnTo>
                    <a:pt x="6932" y="732920"/>
                  </a:lnTo>
                  <a:lnTo>
                    <a:pt x="1753" y="686213"/>
                  </a:lnTo>
                  <a:lnTo>
                    <a:pt x="0" y="638555"/>
                  </a:lnTo>
                  <a:lnTo>
                    <a:pt x="2217" y="585401"/>
                  </a:lnTo>
                  <a:lnTo>
                    <a:pt x="8812" y="532886"/>
                  </a:lnTo>
                  <a:lnTo>
                    <a:pt x="19696" y="481266"/>
                  </a:lnTo>
                  <a:lnTo>
                    <a:pt x="34782" y="430799"/>
                  </a:lnTo>
                  <a:lnTo>
                    <a:pt x="53981" y="381744"/>
                  </a:lnTo>
                  <a:lnTo>
                    <a:pt x="77206" y="334357"/>
                  </a:lnTo>
                  <a:lnTo>
                    <a:pt x="104368" y="288895"/>
                  </a:lnTo>
                  <a:lnTo>
                    <a:pt x="135382" y="245617"/>
                  </a:lnTo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95" name="object 19">
              <a:extLst>
                <a:ext uri="{FF2B5EF4-FFF2-40B4-BE49-F238E27FC236}">
                  <a16:creationId xmlns:a16="http://schemas.microsoft.com/office/drawing/2014/main" id="{FA93E059-D73A-4DEB-A86E-EA5CEE7502DE}"/>
                </a:ext>
              </a:extLst>
            </p:cNvPr>
            <p:cNvSpPr/>
            <p:nvPr/>
          </p:nvSpPr>
          <p:spPr>
            <a:xfrm>
              <a:off x="4111752" y="1822704"/>
              <a:ext cx="772795" cy="1082675"/>
            </a:xfrm>
            <a:custGeom>
              <a:avLst/>
              <a:gdLst/>
              <a:ahLst/>
              <a:cxnLst/>
              <a:rect l="l" t="t" r="r" b="b"/>
              <a:pathLst>
                <a:path w="772795" h="1082675">
                  <a:moveTo>
                    <a:pt x="0" y="0"/>
                  </a:moveTo>
                  <a:lnTo>
                    <a:pt x="48863" y="1521"/>
                  </a:lnTo>
                  <a:lnTo>
                    <a:pt x="96919" y="6026"/>
                  </a:lnTo>
                  <a:lnTo>
                    <a:pt x="144077" y="13424"/>
                  </a:lnTo>
                  <a:lnTo>
                    <a:pt x="190246" y="23624"/>
                  </a:lnTo>
                  <a:lnTo>
                    <a:pt x="235337" y="36535"/>
                  </a:lnTo>
                  <a:lnTo>
                    <a:pt x="279258" y="52067"/>
                  </a:lnTo>
                  <a:lnTo>
                    <a:pt x="321919" y="70128"/>
                  </a:lnTo>
                  <a:lnTo>
                    <a:pt x="363229" y="90629"/>
                  </a:lnTo>
                  <a:lnTo>
                    <a:pt x="403098" y="113479"/>
                  </a:lnTo>
                  <a:lnTo>
                    <a:pt x="441436" y="138587"/>
                  </a:lnTo>
                  <a:lnTo>
                    <a:pt x="478151" y="165862"/>
                  </a:lnTo>
                  <a:lnTo>
                    <a:pt x="513154" y="195214"/>
                  </a:lnTo>
                  <a:lnTo>
                    <a:pt x="546354" y="226552"/>
                  </a:lnTo>
                  <a:lnTo>
                    <a:pt x="577659" y="259785"/>
                  </a:lnTo>
                  <a:lnTo>
                    <a:pt x="606981" y="294823"/>
                  </a:lnTo>
                  <a:lnTo>
                    <a:pt x="634228" y="331575"/>
                  </a:lnTo>
                  <a:lnTo>
                    <a:pt x="659309" y="369951"/>
                  </a:lnTo>
                  <a:lnTo>
                    <a:pt x="682135" y="409859"/>
                  </a:lnTo>
                  <a:lnTo>
                    <a:pt x="702614" y="451210"/>
                  </a:lnTo>
                  <a:lnTo>
                    <a:pt x="720657" y="493912"/>
                  </a:lnTo>
                  <a:lnTo>
                    <a:pt x="736172" y="537875"/>
                  </a:lnTo>
                  <a:lnTo>
                    <a:pt x="749069" y="583008"/>
                  </a:lnTo>
                  <a:lnTo>
                    <a:pt x="759257" y="629221"/>
                  </a:lnTo>
                  <a:lnTo>
                    <a:pt x="766647" y="676422"/>
                  </a:lnTo>
                  <a:lnTo>
                    <a:pt x="771147" y="724522"/>
                  </a:lnTo>
                  <a:lnTo>
                    <a:pt x="772668" y="773430"/>
                  </a:lnTo>
                  <a:lnTo>
                    <a:pt x="770853" y="826453"/>
                  </a:lnTo>
                  <a:lnTo>
                    <a:pt x="765433" y="879103"/>
                  </a:lnTo>
                  <a:lnTo>
                    <a:pt x="756443" y="931195"/>
                  </a:lnTo>
                  <a:lnTo>
                    <a:pt x="743918" y="982547"/>
                  </a:lnTo>
                  <a:lnTo>
                    <a:pt x="727894" y="1032974"/>
                  </a:lnTo>
                  <a:lnTo>
                    <a:pt x="708406" y="1082294"/>
                  </a:lnTo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96" name="object 40">
              <a:extLst>
                <a:ext uri="{FF2B5EF4-FFF2-40B4-BE49-F238E27FC236}">
                  <a16:creationId xmlns:a16="http://schemas.microsoft.com/office/drawing/2014/main" id="{5EB1EC92-DA5C-4D25-88D9-1F3DC9603D19}"/>
                </a:ext>
              </a:extLst>
            </p:cNvPr>
            <p:cNvSpPr/>
            <p:nvPr/>
          </p:nvSpPr>
          <p:spPr>
            <a:xfrm>
              <a:off x="3547109" y="2032254"/>
              <a:ext cx="1130935" cy="1130935"/>
            </a:xfrm>
            <a:custGeom>
              <a:avLst/>
              <a:gdLst/>
              <a:ahLst/>
              <a:cxnLst/>
              <a:rect l="l" t="t" r="r" b="b"/>
              <a:pathLst>
                <a:path w="1130935" h="1130935">
                  <a:moveTo>
                    <a:pt x="565403" y="0"/>
                  </a:moveTo>
                  <a:lnTo>
                    <a:pt x="516614" y="2075"/>
                  </a:lnTo>
                  <a:lnTo>
                    <a:pt x="468978" y="8187"/>
                  </a:lnTo>
                  <a:lnTo>
                    <a:pt x="422665" y="18167"/>
                  </a:lnTo>
                  <a:lnTo>
                    <a:pt x="377844" y="31845"/>
                  </a:lnTo>
                  <a:lnTo>
                    <a:pt x="334686" y="49051"/>
                  </a:lnTo>
                  <a:lnTo>
                    <a:pt x="293360" y="69615"/>
                  </a:lnTo>
                  <a:lnTo>
                    <a:pt x="254034" y="93369"/>
                  </a:lnTo>
                  <a:lnTo>
                    <a:pt x="216881" y="120142"/>
                  </a:lnTo>
                  <a:lnTo>
                    <a:pt x="182067" y="149765"/>
                  </a:lnTo>
                  <a:lnTo>
                    <a:pt x="149765" y="182067"/>
                  </a:lnTo>
                  <a:lnTo>
                    <a:pt x="120142" y="216881"/>
                  </a:lnTo>
                  <a:lnTo>
                    <a:pt x="93369" y="254034"/>
                  </a:lnTo>
                  <a:lnTo>
                    <a:pt x="69615" y="293360"/>
                  </a:lnTo>
                  <a:lnTo>
                    <a:pt x="49051" y="334686"/>
                  </a:lnTo>
                  <a:lnTo>
                    <a:pt x="31845" y="377844"/>
                  </a:lnTo>
                  <a:lnTo>
                    <a:pt x="18167" y="422665"/>
                  </a:lnTo>
                  <a:lnTo>
                    <a:pt x="8187" y="468978"/>
                  </a:lnTo>
                  <a:lnTo>
                    <a:pt x="2075" y="516614"/>
                  </a:lnTo>
                  <a:lnTo>
                    <a:pt x="0" y="565404"/>
                  </a:lnTo>
                  <a:lnTo>
                    <a:pt x="2075" y="614193"/>
                  </a:lnTo>
                  <a:lnTo>
                    <a:pt x="8187" y="661829"/>
                  </a:lnTo>
                  <a:lnTo>
                    <a:pt x="18167" y="708142"/>
                  </a:lnTo>
                  <a:lnTo>
                    <a:pt x="31845" y="752963"/>
                  </a:lnTo>
                  <a:lnTo>
                    <a:pt x="49051" y="796121"/>
                  </a:lnTo>
                  <a:lnTo>
                    <a:pt x="69615" y="837447"/>
                  </a:lnTo>
                  <a:lnTo>
                    <a:pt x="93369" y="876773"/>
                  </a:lnTo>
                  <a:lnTo>
                    <a:pt x="120142" y="913926"/>
                  </a:lnTo>
                  <a:lnTo>
                    <a:pt x="149765" y="948740"/>
                  </a:lnTo>
                  <a:lnTo>
                    <a:pt x="182067" y="981042"/>
                  </a:lnTo>
                  <a:lnTo>
                    <a:pt x="216881" y="1010665"/>
                  </a:lnTo>
                  <a:lnTo>
                    <a:pt x="254034" y="1037438"/>
                  </a:lnTo>
                  <a:lnTo>
                    <a:pt x="293360" y="1061192"/>
                  </a:lnTo>
                  <a:lnTo>
                    <a:pt x="334686" y="1081756"/>
                  </a:lnTo>
                  <a:lnTo>
                    <a:pt x="377844" y="1098962"/>
                  </a:lnTo>
                  <a:lnTo>
                    <a:pt x="422665" y="1112640"/>
                  </a:lnTo>
                  <a:lnTo>
                    <a:pt x="468978" y="1122620"/>
                  </a:lnTo>
                  <a:lnTo>
                    <a:pt x="516614" y="1128732"/>
                  </a:lnTo>
                  <a:lnTo>
                    <a:pt x="565403" y="1130808"/>
                  </a:lnTo>
                  <a:lnTo>
                    <a:pt x="614193" y="1128732"/>
                  </a:lnTo>
                  <a:lnTo>
                    <a:pt x="661829" y="1122620"/>
                  </a:lnTo>
                  <a:lnTo>
                    <a:pt x="708142" y="1112640"/>
                  </a:lnTo>
                  <a:lnTo>
                    <a:pt x="752963" y="1098962"/>
                  </a:lnTo>
                  <a:lnTo>
                    <a:pt x="796121" y="1081756"/>
                  </a:lnTo>
                  <a:lnTo>
                    <a:pt x="837447" y="1061192"/>
                  </a:lnTo>
                  <a:lnTo>
                    <a:pt x="876773" y="1037438"/>
                  </a:lnTo>
                  <a:lnTo>
                    <a:pt x="913926" y="1010665"/>
                  </a:lnTo>
                  <a:lnTo>
                    <a:pt x="948740" y="981042"/>
                  </a:lnTo>
                  <a:lnTo>
                    <a:pt x="981042" y="948740"/>
                  </a:lnTo>
                  <a:lnTo>
                    <a:pt x="1010665" y="913926"/>
                  </a:lnTo>
                  <a:lnTo>
                    <a:pt x="1037438" y="876773"/>
                  </a:lnTo>
                  <a:lnTo>
                    <a:pt x="1061192" y="837447"/>
                  </a:lnTo>
                  <a:lnTo>
                    <a:pt x="1081756" y="796121"/>
                  </a:lnTo>
                  <a:lnTo>
                    <a:pt x="1098962" y="752963"/>
                  </a:lnTo>
                  <a:lnTo>
                    <a:pt x="1112640" y="708142"/>
                  </a:lnTo>
                  <a:lnTo>
                    <a:pt x="1122620" y="661829"/>
                  </a:lnTo>
                  <a:lnTo>
                    <a:pt x="1128732" y="614193"/>
                  </a:lnTo>
                  <a:lnTo>
                    <a:pt x="1130807" y="565404"/>
                  </a:lnTo>
                  <a:lnTo>
                    <a:pt x="1128732" y="516614"/>
                  </a:lnTo>
                  <a:lnTo>
                    <a:pt x="1122620" y="468978"/>
                  </a:lnTo>
                  <a:lnTo>
                    <a:pt x="1112640" y="422665"/>
                  </a:lnTo>
                  <a:lnTo>
                    <a:pt x="1098962" y="377844"/>
                  </a:lnTo>
                  <a:lnTo>
                    <a:pt x="1081756" y="334686"/>
                  </a:lnTo>
                  <a:lnTo>
                    <a:pt x="1061192" y="293360"/>
                  </a:lnTo>
                  <a:lnTo>
                    <a:pt x="1037438" y="254034"/>
                  </a:lnTo>
                  <a:lnTo>
                    <a:pt x="1010665" y="216881"/>
                  </a:lnTo>
                  <a:lnTo>
                    <a:pt x="981042" y="182067"/>
                  </a:lnTo>
                  <a:lnTo>
                    <a:pt x="948740" y="149765"/>
                  </a:lnTo>
                  <a:lnTo>
                    <a:pt x="913926" y="120142"/>
                  </a:lnTo>
                  <a:lnTo>
                    <a:pt x="876773" y="93369"/>
                  </a:lnTo>
                  <a:lnTo>
                    <a:pt x="837447" y="69615"/>
                  </a:lnTo>
                  <a:lnTo>
                    <a:pt x="796121" y="49051"/>
                  </a:lnTo>
                  <a:lnTo>
                    <a:pt x="752963" y="31845"/>
                  </a:lnTo>
                  <a:lnTo>
                    <a:pt x="708142" y="18167"/>
                  </a:lnTo>
                  <a:lnTo>
                    <a:pt x="661829" y="8187"/>
                  </a:lnTo>
                  <a:lnTo>
                    <a:pt x="614193" y="2075"/>
                  </a:lnTo>
                  <a:lnTo>
                    <a:pt x="565403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97" name="object 41">
              <a:extLst>
                <a:ext uri="{FF2B5EF4-FFF2-40B4-BE49-F238E27FC236}">
                  <a16:creationId xmlns:a16="http://schemas.microsoft.com/office/drawing/2014/main" id="{D7771BC4-39B1-414E-BCE4-0E3A278BAF32}"/>
                </a:ext>
              </a:extLst>
            </p:cNvPr>
            <p:cNvSpPr/>
            <p:nvPr/>
          </p:nvSpPr>
          <p:spPr>
            <a:xfrm>
              <a:off x="3547109" y="2032254"/>
              <a:ext cx="1130935" cy="1130935"/>
            </a:xfrm>
            <a:custGeom>
              <a:avLst/>
              <a:gdLst/>
              <a:ahLst/>
              <a:cxnLst/>
              <a:rect l="l" t="t" r="r" b="b"/>
              <a:pathLst>
                <a:path w="1130935" h="1130935">
                  <a:moveTo>
                    <a:pt x="0" y="565404"/>
                  </a:moveTo>
                  <a:lnTo>
                    <a:pt x="2075" y="516614"/>
                  </a:lnTo>
                  <a:lnTo>
                    <a:pt x="8187" y="468978"/>
                  </a:lnTo>
                  <a:lnTo>
                    <a:pt x="18167" y="422665"/>
                  </a:lnTo>
                  <a:lnTo>
                    <a:pt x="31845" y="377844"/>
                  </a:lnTo>
                  <a:lnTo>
                    <a:pt x="49051" y="334686"/>
                  </a:lnTo>
                  <a:lnTo>
                    <a:pt x="69615" y="293360"/>
                  </a:lnTo>
                  <a:lnTo>
                    <a:pt x="93369" y="254034"/>
                  </a:lnTo>
                  <a:lnTo>
                    <a:pt x="120142" y="216881"/>
                  </a:lnTo>
                  <a:lnTo>
                    <a:pt x="149765" y="182067"/>
                  </a:lnTo>
                  <a:lnTo>
                    <a:pt x="182067" y="149765"/>
                  </a:lnTo>
                  <a:lnTo>
                    <a:pt x="216881" y="120142"/>
                  </a:lnTo>
                  <a:lnTo>
                    <a:pt x="254034" y="93369"/>
                  </a:lnTo>
                  <a:lnTo>
                    <a:pt x="293360" y="69615"/>
                  </a:lnTo>
                  <a:lnTo>
                    <a:pt x="334686" y="49051"/>
                  </a:lnTo>
                  <a:lnTo>
                    <a:pt x="377844" y="31845"/>
                  </a:lnTo>
                  <a:lnTo>
                    <a:pt x="422665" y="18167"/>
                  </a:lnTo>
                  <a:lnTo>
                    <a:pt x="468978" y="8187"/>
                  </a:lnTo>
                  <a:lnTo>
                    <a:pt x="516614" y="2075"/>
                  </a:lnTo>
                  <a:lnTo>
                    <a:pt x="565403" y="0"/>
                  </a:lnTo>
                  <a:lnTo>
                    <a:pt x="614193" y="2075"/>
                  </a:lnTo>
                  <a:lnTo>
                    <a:pt x="661829" y="8187"/>
                  </a:lnTo>
                  <a:lnTo>
                    <a:pt x="708142" y="18167"/>
                  </a:lnTo>
                  <a:lnTo>
                    <a:pt x="752963" y="31845"/>
                  </a:lnTo>
                  <a:lnTo>
                    <a:pt x="796121" y="49051"/>
                  </a:lnTo>
                  <a:lnTo>
                    <a:pt x="837447" y="69615"/>
                  </a:lnTo>
                  <a:lnTo>
                    <a:pt x="876773" y="93369"/>
                  </a:lnTo>
                  <a:lnTo>
                    <a:pt x="913926" y="120142"/>
                  </a:lnTo>
                  <a:lnTo>
                    <a:pt x="948740" y="149765"/>
                  </a:lnTo>
                  <a:lnTo>
                    <a:pt x="981042" y="182067"/>
                  </a:lnTo>
                  <a:lnTo>
                    <a:pt x="1010665" y="216881"/>
                  </a:lnTo>
                  <a:lnTo>
                    <a:pt x="1037438" y="254034"/>
                  </a:lnTo>
                  <a:lnTo>
                    <a:pt x="1061192" y="293360"/>
                  </a:lnTo>
                  <a:lnTo>
                    <a:pt x="1081756" y="334686"/>
                  </a:lnTo>
                  <a:lnTo>
                    <a:pt x="1098962" y="377844"/>
                  </a:lnTo>
                  <a:lnTo>
                    <a:pt x="1112640" y="422665"/>
                  </a:lnTo>
                  <a:lnTo>
                    <a:pt x="1122620" y="468978"/>
                  </a:lnTo>
                  <a:lnTo>
                    <a:pt x="1128732" y="516614"/>
                  </a:lnTo>
                  <a:lnTo>
                    <a:pt x="1130807" y="565404"/>
                  </a:lnTo>
                  <a:lnTo>
                    <a:pt x="1128732" y="614193"/>
                  </a:lnTo>
                  <a:lnTo>
                    <a:pt x="1122620" y="661829"/>
                  </a:lnTo>
                  <a:lnTo>
                    <a:pt x="1112640" y="708142"/>
                  </a:lnTo>
                  <a:lnTo>
                    <a:pt x="1098962" y="752963"/>
                  </a:lnTo>
                  <a:lnTo>
                    <a:pt x="1081756" y="796121"/>
                  </a:lnTo>
                  <a:lnTo>
                    <a:pt x="1061192" y="837447"/>
                  </a:lnTo>
                  <a:lnTo>
                    <a:pt x="1037438" y="876773"/>
                  </a:lnTo>
                  <a:lnTo>
                    <a:pt x="1010665" y="913926"/>
                  </a:lnTo>
                  <a:lnTo>
                    <a:pt x="981042" y="948740"/>
                  </a:lnTo>
                  <a:lnTo>
                    <a:pt x="948740" y="981042"/>
                  </a:lnTo>
                  <a:lnTo>
                    <a:pt x="913926" y="1010665"/>
                  </a:lnTo>
                  <a:lnTo>
                    <a:pt x="876773" y="1037438"/>
                  </a:lnTo>
                  <a:lnTo>
                    <a:pt x="837447" y="1061192"/>
                  </a:lnTo>
                  <a:lnTo>
                    <a:pt x="796121" y="1081756"/>
                  </a:lnTo>
                  <a:lnTo>
                    <a:pt x="752963" y="1098962"/>
                  </a:lnTo>
                  <a:lnTo>
                    <a:pt x="708142" y="1112640"/>
                  </a:lnTo>
                  <a:lnTo>
                    <a:pt x="661829" y="1122620"/>
                  </a:lnTo>
                  <a:lnTo>
                    <a:pt x="614193" y="1128732"/>
                  </a:lnTo>
                  <a:lnTo>
                    <a:pt x="565403" y="1130808"/>
                  </a:lnTo>
                  <a:lnTo>
                    <a:pt x="516614" y="1128732"/>
                  </a:lnTo>
                  <a:lnTo>
                    <a:pt x="468978" y="1122620"/>
                  </a:lnTo>
                  <a:lnTo>
                    <a:pt x="422665" y="1112640"/>
                  </a:lnTo>
                  <a:lnTo>
                    <a:pt x="377844" y="1098962"/>
                  </a:lnTo>
                  <a:lnTo>
                    <a:pt x="334686" y="1081756"/>
                  </a:lnTo>
                  <a:lnTo>
                    <a:pt x="293360" y="1061192"/>
                  </a:lnTo>
                  <a:lnTo>
                    <a:pt x="254034" y="1037438"/>
                  </a:lnTo>
                  <a:lnTo>
                    <a:pt x="216881" y="1010665"/>
                  </a:lnTo>
                  <a:lnTo>
                    <a:pt x="182067" y="981042"/>
                  </a:lnTo>
                  <a:lnTo>
                    <a:pt x="149765" y="948740"/>
                  </a:lnTo>
                  <a:lnTo>
                    <a:pt x="120142" y="913926"/>
                  </a:lnTo>
                  <a:lnTo>
                    <a:pt x="93369" y="876773"/>
                  </a:lnTo>
                  <a:lnTo>
                    <a:pt x="69615" y="837447"/>
                  </a:lnTo>
                  <a:lnTo>
                    <a:pt x="49051" y="796121"/>
                  </a:lnTo>
                  <a:lnTo>
                    <a:pt x="31845" y="752963"/>
                  </a:lnTo>
                  <a:lnTo>
                    <a:pt x="18167" y="708142"/>
                  </a:lnTo>
                  <a:lnTo>
                    <a:pt x="8187" y="661829"/>
                  </a:lnTo>
                  <a:lnTo>
                    <a:pt x="2075" y="614193"/>
                  </a:lnTo>
                  <a:lnTo>
                    <a:pt x="0" y="565404"/>
                  </a:lnTo>
                  <a:close/>
                </a:path>
              </a:pathLst>
            </a:custGeom>
            <a:ln w="19812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5F98BD0-9C70-423F-B7F0-EA3AF60AE0F8}"/>
              </a:ext>
            </a:extLst>
          </p:cNvPr>
          <p:cNvGrpSpPr/>
          <p:nvPr/>
        </p:nvGrpSpPr>
        <p:grpSpPr>
          <a:xfrm>
            <a:off x="4195066" y="1830912"/>
            <a:ext cx="1104822" cy="1136861"/>
            <a:chOff x="3467100" y="1822704"/>
            <a:chExt cx="1417447" cy="1481455"/>
          </a:xfrm>
        </p:grpSpPr>
        <p:sp>
          <p:nvSpPr>
            <p:cNvPr id="88" name="object 17">
              <a:extLst>
                <a:ext uri="{FF2B5EF4-FFF2-40B4-BE49-F238E27FC236}">
                  <a16:creationId xmlns:a16="http://schemas.microsoft.com/office/drawing/2014/main" id="{B5D444B5-A855-405E-8E10-00316D895446}"/>
                </a:ext>
              </a:extLst>
            </p:cNvPr>
            <p:cNvSpPr/>
            <p:nvPr/>
          </p:nvSpPr>
          <p:spPr>
            <a:xfrm>
              <a:off x="3550284" y="1898904"/>
              <a:ext cx="1259840" cy="1405255"/>
            </a:xfrm>
            <a:custGeom>
              <a:avLst/>
              <a:gdLst/>
              <a:ahLst/>
              <a:cxnLst/>
              <a:rect l="l" t="t" r="r" b="b"/>
              <a:pathLst>
                <a:path w="1259839" h="1405254">
                  <a:moveTo>
                    <a:pt x="556132" y="0"/>
                  </a:moveTo>
                  <a:lnTo>
                    <a:pt x="604293" y="1620"/>
                  </a:lnTo>
                  <a:lnTo>
                    <a:pt x="651582" y="6414"/>
                  </a:lnTo>
                  <a:lnTo>
                    <a:pt x="697894" y="14274"/>
                  </a:lnTo>
                  <a:lnTo>
                    <a:pt x="743124" y="25098"/>
                  </a:lnTo>
                  <a:lnTo>
                    <a:pt x="787169" y="38780"/>
                  </a:lnTo>
                  <a:lnTo>
                    <a:pt x="829923" y="55215"/>
                  </a:lnTo>
                  <a:lnTo>
                    <a:pt x="871281" y="74299"/>
                  </a:lnTo>
                  <a:lnTo>
                    <a:pt x="911140" y="95927"/>
                  </a:lnTo>
                  <a:lnTo>
                    <a:pt x="949394" y="119994"/>
                  </a:lnTo>
                  <a:lnTo>
                    <a:pt x="985938" y="146397"/>
                  </a:lnTo>
                  <a:lnTo>
                    <a:pt x="1020669" y="175029"/>
                  </a:lnTo>
                  <a:lnTo>
                    <a:pt x="1053480" y="205787"/>
                  </a:lnTo>
                  <a:lnTo>
                    <a:pt x="1084269" y="238566"/>
                  </a:lnTo>
                  <a:lnTo>
                    <a:pt x="1112929" y="273261"/>
                  </a:lnTo>
                  <a:lnTo>
                    <a:pt x="1139356" y="309767"/>
                  </a:lnTo>
                  <a:lnTo>
                    <a:pt x="1163447" y="347980"/>
                  </a:lnTo>
                  <a:lnTo>
                    <a:pt x="1185094" y="387794"/>
                  </a:lnTo>
                  <a:lnTo>
                    <a:pt x="1204196" y="429107"/>
                  </a:lnTo>
                  <a:lnTo>
                    <a:pt x="1220645" y="471812"/>
                  </a:lnTo>
                  <a:lnTo>
                    <a:pt x="1234339" y="515805"/>
                  </a:lnTo>
                  <a:lnTo>
                    <a:pt x="1245172" y="560981"/>
                  </a:lnTo>
                  <a:lnTo>
                    <a:pt x="1253039" y="607236"/>
                  </a:lnTo>
                  <a:lnTo>
                    <a:pt x="1257836" y="654465"/>
                  </a:lnTo>
                  <a:lnTo>
                    <a:pt x="1259459" y="702563"/>
                  </a:lnTo>
                  <a:lnTo>
                    <a:pt x="1257836" y="750662"/>
                  </a:lnTo>
                  <a:lnTo>
                    <a:pt x="1253039" y="797891"/>
                  </a:lnTo>
                  <a:lnTo>
                    <a:pt x="1245172" y="844146"/>
                  </a:lnTo>
                  <a:lnTo>
                    <a:pt x="1234339" y="889322"/>
                  </a:lnTo>
                  <a:lnTo>
                    <a:pt x="1220645" y="933315"/>
                  </a:lnTo>
                  <a:lnTo>
                    <a:pt x="1204196" y="976020"/>
                  </a:lnTo>
                  <a:lnTo>
                    <a:pt x="1185094" y="1017333"/>
                  </a:lnTo>
                  <a:lnTo>
                    <a:pt x="1163447" y="1057147"/>
                  </a:lnTo>
                  <a:lnTo>
                    <a:pt x="1139356" y="1095360"/>
                  </a:lnTo>
                  <a:lnTo>
                    <a:pt x="1112929" y="1131866"/>
                  </a:lnTo>
                  <a:lnTo>
                    <a:pt x="1084269" y="1166561"/>
                  </a:lnTo>
                  <a:lnTo>
                    <a:pt x="1053480" y="1199340"/>
                  </a:lnTo>
                  <a:lnTo>
                    <a:pt x="1020669" y="1230098"/>
                  </a:lnTo>
                  <a:lnTo>
                    <a:pt x="985938" y="1258730"/>
                  </a:lnTo>
                  <a:lnTo>
                    <a:pt x="949394" y="1285133"/>
                  </a:lnTo>
                  <a:lnTo>
                    <a:pt x="911140" y="1309200"/>
                  </a:lnTo>
                  <a:lnTo>
                    <a:pt x="871281" y="1330828"/>
                  </a:lnTo>
                  <a:lnTo>
                    <a:pt x="829923" y="1349912"/>
                  </a:lnTo>
                  <a:lnTo>
                    <a:pt x="787169" y="1366347"/>
                  </a:lnTo>
                  <a:lnTo>
                    <a:pt x="743124" y="1380029"/>
                  </a:lnTo>
                  <a:lnTo>
                    <a:pt x="697894" y="1390853"/>
                  </a:lnTo>
                  <a:lnTo>
                    <a:pt x="651582" y="1398713"/>
                  </a:lnTo>
                  <a:lnTo>
                    <a:pt x="604293" y="1403507"/>
                  </a:lnTo>
                  <a:lnTo>
                    <a:pt x="556132" y="1405128"/>
                  </a:lnTo>
                  <a:lnTo>
                    <a:pt x="506172" y="1403355"/>
                  </a:lnTo>
                  <a:lnTo>
                    <a:pt x="456808" y="1398092"/>
                  </a:lnTo>
                  <a:lnTo>
                    <a:pt x="408205" y="1389418"/>
                  </a:lnTo>
                  <a:lnTo>
                    <a:pt x="360525" y="1377414"/>
                  </a:lnTo>
                  <a:lnTo>
                    <a:pt x="313933" y="1362159"/>
                  </a:lnTo>
                  <a:lnTo>
                    <a:pt x="268593" y="1343733"/>
                  </a:lnTo>
                  <a:lnTo>
                    <a:pt x="224667" y="1322217"/>
                  </a:lnTo>
                  <a:lnTo>
                    <a:pt x="182321" y="1297691"/>
                  </a:lnTo>
                  <a:lnTo>
                    <a:pt x="141717" y="1270235"/>
                  </a:lnTo>
                  <a:lnTo>
                    <a:pt x="103019" y="1239929"/>
                  </a:lnTo>
                  <a:lnTo>
                    <a:pt x="66391" y="1206853"/>
                  </a:lnTo>
                  <a:lnTo>
                    <a:pt x="31997" y="1171088"/>
                  </a:lnTo>
                  <a:lnTo>
                    <a:pt x="0" y="1132713"/>
                  </a:lnTo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89" name="object 18">
              <a:extLst>
                <a:ext uri="{FF2B5EF4-FFF2-40B4-BE49-F238E27FC236}">
                  <a16:creationId xmlns:a16="http://schemas.microsoft.com/office/drawing/2014/main" id="{5EC512BE-67A6-44A1-BDE2-56287FBEC9DA}"/>
                </a:ext>
              </a:extLst>
            </p:cNvPr>
            <p:cNvSpPr/>
            <p:nvPr/>
          </p:nvSpPr>
          <p:spPr>
            <a:xfrm>
              <a:off x="3467100" y="1962911"/>
              <a:ext cx="1278890" cy="1277620"/>
            </a:xfrm>
            <a:custGeom>
              <a:avLst/>
              <a:gdLst/>
              <a:ahLst/>
              <a:cxnLst/>
              <a:rect l="l" t="t" r="r" b="b"/>
              <a:pathLst>
                <a:path w="1278889" h="1277620">
                  <a:moveTo>
                    <a:pt x="639317" y="0"/>
                  </a:moveTo>
                  <a:lnTo>
                    <a:pt x="687027" y="1751"/>
                  </a:lnTo>
                  <a:lnTo>
                    <a:pt x="733785" y="6923"/>
                  </a:lnTo>
                  <a:lnTo>
                    <a:pt x="779468" y="15392"/>
                  </a:lnTo>
                  <a:lnTo>
                    <a:pt x="823952" y="27034"/>
                  </a:lnTo>
                  <a:lnTo>
                    <a:pt x="867112" y="41727"/>
                  </a:lnTo>
                  <a:lnTo>
                    <a:pt x="908827" y="59346"/>
                  </a:lnTo>
                  <a:lnTo>
                    <a:pt x="948971" y="79769"/>
                  </a:lnTo>
                  <a:lnTo>
                    <a:pt x="987422" y="102871"/>
                  </a:lnTo>
                  <a:lnTo>
                    <a:pt x="1024055" y="128530"/>
                  </a:lnTo>
                  <a:lnTo>
                    <a:pt x="1058747" y="156622"/>
                  </a:lnTo>
                  <a:lnTo>
                    <a:pt x="1091374" y="187023"/>
                  </a:lnTo>
                  <a:lnTo>
                    <a:pt x="1121813" y="219610"/>
                  </a:lnTo>
                  <a:lnTo>
                    <a:pt x="1149940" y="254260"/>
                  </a:lnTo>
                  <a:lnTo>
                    <a:pt x="1175631" y="290849"/>
                  </a:lnTo>
                  <a:lnTo>
                    <a:pt x="1198763" y="329253"/>
                  </a:lnTo>
                  <a:lnTo>
                    <a:pt x="1219212" y="369350"/>
                  </a:lnTo>
                  <a:lnTo>
                    <a:pt x="1236854" y="411016"/>
                  </a:lnTo>
                  <a:lnTo>
                    <a:pt x="1251565" y="454127"/>
                  </a:lnTo>
                  <a:lnTo>
                    <a:pt x="1263223" y="498560"/>
                  </a:lnTo>
                  <a:lnTo>
                    <a:pt x="1271703" y="544191"/>
                  </a:lnTo>
                  <a:lnTo>
                    <a:pt x="1276882" y="590898"/>
                  </a:lnTo>
                  <a:lnTo>
                    <a:pt x="1278636" y="638555"/>
                  </a:lnTo>
                  <a:lnTo>
                    <a:pt x="1276882" y="686213"/>
                  </a:lnTo>
                  <a:lnTo>
                    <a:pt x="1271703" y="732920"/>
                  </a:lnTo>
                  <a:lnTo>
                    <a:pt x="1263223" y="778551"/>
                  </a:lnTo>
                  <a:lnTo>
                    <a:pt x="1251565" y="822984"/>
                  </a:lnTo>
                  <a:lnTo>
                    <a:pt x="1236854" y="866095"/>
                  </a:lnTo>
                  <a:lnTo>
                    <a:pt x="1219212" y="907761"/>
                  </a:lnTo>
                  <a:lnTo>
                    <a:pt x="1198763" y="947858"/>
                  </a:lnTo>
                  <a:lnTo>
                    <a:pt x="1175631" y="986262"/>
                  </a:lnTo>
                  <a:lnTo>
                    <a:pt x="1149940" y="1022851"/>
                  </a:lnTo>
                  <a:lnTo>
                    <a:pt x="1121813" y="1057501"/>
                  </a:lnTo>
                  <a:lnTo>
                    <a:pt x="1091374" y="1090088"/>
                  </a:lnTo>
                  <a:lnTo>
                    <a:pt x="1058747" y="1120489"/>
                  </a:lnTo>
                  <a:lnTo>
                    <a:pt x="1024055" y="1148581"/>
                  </a:lnTo>
                  <a:lnTo>
                    <a:pt x="987422" y="1174240"/>
                  </a:lnTo>
                  <a:lnTo>
                    <a:pt x="948971" y="1197342"/>
                  </a:lnTo>
                  <a:lnTo>
                    <a:pt x="908827" y="1217765"/>
                  </a:lnTo>
                  <a:lnTo>
                    <a:pt x="867112" y="1235384"/>
                  </a:lnTo>
                  <a:lnTo>
                    <a:pt x="823952" y="1250077"/>
                  </a:lnTo>
                  <a:lnTo>
                    <a:pt x="779468" y="1261719"/>
                  </a:lnTo>
                  <a:lnTo>
                    <a:pt x="733785" y="1270188"/>
                  </a:lnTo>
                  <a:lnTo>
                    <a:pt x="687027" y="1275360"/>
                  </a:lnTo>
                  <a:lnTo>
                    <a:pt x="639317" y="1277112"/>
                  </a:lnTo>
                  <a:lnTo>
                    <a:pt x="591608" y="1275360"/>
                  </a:lnTo>
                  <a:lnTo>
                    <a:pt x="544850" y="1270188"/>
                  </a:lnTo>
                  <a:lnTo>
                    <a:pt x="499167" y="1261719"/>
                  </a:lnTo>
                  <a:lnTo>
                    <a:pt x="454683" y="1250077"/>
                  </a:lnTo>
                  <a:lnTo>
                    <a:pt x="411523" y="1235384"/>
                  </a:lnTo>
                  <a:lnTo>
                    <a:pt x="369808" y="1217765"/>
                  </a:lnTo>
                  <a:lnTo>
                    <a:pt x="329664" y="1197342"/>
                  </a:lnTo>
                  <a:lnTo>
                    <a:pt x="291213" y="1174240"/>
                  </a:lnTo>
                  <a:lnTo>
                    <a:pt x="254580" y="1148581"/>
                  </a:lnTo>
                  <a:lnTo>
                    <a:pt x="219888" y="1120489"/>
                  </a:lnTo>
                  <a:lnTo>
                    <a:pt x="187261" y="1090088"/>
                  </a:lnTo>
                  <a:lnTo>
                    <a:pt x="156822" y="1057501"/>
                  </a:lnTo>
                  <a:lnTo>
                    <a:pt x="128695" y="1022851"/>
                  </a:lnTo>
                  <a:lnTo>
                    <a:pt x="103004" y="986262"/>
                  </a:lnTo>
                  <a:lnTo>
                    <a:pt x="79872" y="947858"/>
                  </a:lnTo>
                  <a:lnTo>
                    <a:pt x="59423" y="907761"/>
                  </a:lnTo>
                  <a:lnTo>
                    <a:pt x="41781" y="866095"/>
                  </a:lnTo>
                  <a:lnTo>
                    <a:pt x="27070" y="822984"/>
                  </a:lnTo>
                  <a:lnTo>
                    <a:pt x="15412" y="778551"/>
                  </a:lnTo>
                  <a:lnTo>
                    <a:pt x="6932" y="732920"/>
                  </a:lnTo>
                  <a:lnTo>
                    <a:pt x="1753" y="686213"/>
                  </a:lnTo>
                  <a:lnTo>
                    <a:pt x="0" y="638555"/>
                  </a:lnTo>
                  <a:lnTo>
                    <a:pt x="2217" y="585401"/>
                  </a:lnTo>
                  <a:lnTo>
                    <a:pt x="8812" y="532886"/>
                  </a:lnTo>
                  <a:lnTo>
                    <a:pt x="19696" y="481266"/>
                  </a:lnTo>
                  <a:lnTo>
                    <a:pt x="34782" y="430799"/>
                  </a:lnTo>
                  <a:lnTo>
                    <a:pt x="53981" y="381744"/>
                  </a:lnTo>
                  <a:lnTo>
                    <a:pt x="77206" y="334357"/>
                  </a:lnTo>
                  <a:lnTo>
                    <a:pt x="104368" y="288895"/>
                  </a:lnTo>
                  <a:lnTo>
                    <a:pt x="135382" y="245617"/>
                  </a:lnTo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90" name="object 19">
              <a:extLst>
                <a:ext uri="{FF2B5EF4-FFF2-40B4-BE49-F238E27FC236}">
                  <a16:creationId xmlns:a16="http://schemas.microsoft.com/office/drawing/2014/main" id="{F1DB4467-5B6C-44DD-B234-B0BE9E82E6DA}"/>
                </a:ext>
              </a:extLst>
            </p:cNvPr>
            <p:cNvSpPr/>
            <p:nvPr/>
          </p:nvSpPr>
          <p:spPr>
            <a:xfrm>
              <a:off x="4111752" y="1822704"/>
              <a:ext cx="772795" cy="1082675"/>
            </a:xfrm>
            <a:custGeom>
              <a:avLst/>
              <a:gdLst/>
              <a:ahLst/>
              <a:cxnLst/>
              <a:rect l="l" t="t" r="r" b="b"/>
              <a:pathLst>
                <a:path w="772795" h="1082675">
                  <a:moveTo>
                    <a:pt x="0" y="0"/>
                  </a:moveTo>
                  <a:lnTo>
                    <a:pt x="48863" y="1521"/>
                  </a:lnTo>
                  <a:lnTo>
                    <a:pt x="96919" y="6026"/>
                  </a:lnTo>
                  <a:lnTo>
                    <a:pt x="144077" y="13424"/>
                  </a:lnTo>
                  <a:lnTo>
                    <a:pt x="190246" y="23624"/>
                  </a:lnTo>
                  <a:lnTo>
                    <a:pt x="235337" y="36535"/>
                  </a:lnTo>
                  <a:lnTo>
                    <a:pt x="279258" y="52067"/>
                  </a:lnTo>
                  <a:lnTo>
                    <a:pt x="321919" y="70128"/>
                  </a:lnTo>
                  <a:lnTo>
                    <a:pt x="363229" y="90629"/>
                  </a:lnTo>
                  <a:lnTo>
                    <a:pt x="403098" y="113479"/>
                  </a:lnTo>
                  <a:lnTo>
                    <a:pt x="441436" y="138587"/>
                  </a:lnTo>
                  <a:lnTo>
                    <a:pt x="478151" y="165862"/>
                  </a:lnTo>
                  <a:lnTo>
                    <a:pt x="513154" y="195214"/>
                  </a:lnTo>
                  <a:lnTo>
                    <a:pt x="546354" y="226552"/>
                  </a:lnTo>
                  <a:lnTo>
                    <a:pt x="577659" y="259785"/>
                  </a:lnTo>
                  <a:lnTo>
                    <a:pt x="606981" y="294823"/>
                  </a:lnTo>
                  <a:lnTo>
                    <a:pt x="634228" y="331575"/>
                  </a:lnTo>
                  <a:lnTo>
                    <a:pt x="659309" y="369951"/>
                  </a:lnTo>
                  <a:lnTo>
                    <a:pt x="682135" y="409859"/>
                  </a:lnTo>
                  <a:lnTo>
                    <a:pt x="702614" y="451210"/>
                  </a:lnTo>
                  <a:lnTo>
                    <a:pt x="720657" y="493912"/>
                  </a:lnTo>
                  <a:lnTo>
                    <a:pt x="736172" y="537875"/>
                  </a:lnTo>
                  <a:lnTo>
                    <a:pt x="749069" y="583008"/>
                  </a:lnTo>
                  <a:lnTo>
                    <a:pt x="759257" y="629221"/>
                  </a:lnTo>
                  <a:lnTo>
                    <a:pt x="766647" y="676422"/>
                  </a:lnTo>
                  <a:lnTo>
                    <a:pt x="771147" y="724522"/>
                  </a:lnTo>
                  <a:lnTo>
                    <a:pt x="772668" y="773430"/>
                  </a:lnTo>
                  <a:lnTo>
                    <a:pt x="770853" y="826453"/>
                  </a:lnTo>
                  <a:lnTo>
                    <a:pt x="765433" y="879103"/>
                  </a:lnTo>
                  <a:lnTo>
                    <a:pt x="756443" y="931195"/>
                  </a:lnTo>
                  <a:lnTo>
                    <a:pt x="743918" y="982547"/>
                  </a:lnTo>
                  <a:lnTo>
                    <a:pt x="727894" y="1032974"/>
                  </a:lnTo>
                  <a:lnTo>
                    <a:pt x="708406" y="1082294"/>
                  </a:lnTo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91" name="object 40">
              <a:extLst>
                <a:ext uri="{FF2B5EF4-FFF2-40B4-BE49-F238E27FC236}">
                  <a16:creationId xmlns:a16="http://schemas.microsoft.com/office/drawing/2014/main" id="{4DBBCE1E-3C11-4823-888B-2A2A37A63886}"/>
                </a:ext>
              </a:extLst>
            </p:cNvPr>
            <p:cNvSpPr/>
            <p:nvPr/>
          </p:nvSpPr>
          <p:spPr>
            <a:xfrm>
              <a:off x="3547109" y="2032254"/>
              <a:ext cx="1130935" cy="1130935"/>
            </a:xfrm>
            <a:custGeom>
              <a:avLst/>
              <a:gdLst/>
              <a:ahLst/>
              <a:cxnLst/>
              <a:rect l="l" t="t" r="r" b="b"/>
              <a:pathLst>
                <a:path w="1130935" h="1130935">
                  <a:moveTo>
                    <a:pt x="565403" y="0"/>
                  </a:moveTo>
                  <a:lnTo>
                    <a:pt x="516614" y="2075"/>
                  </a:lnTo>
                  <a:lnTo>
                    <a:pt x="468978" y="8187"/>
                  </a:lnTo>
                  <a:lnTo>
                    <a:pt x="422665" y="18167"/>
                  </a:lnTo>
                  <a:lnTo>
                    <a:pt x="377844" y="31845"/>
                  </a:lnTo>
                  <a:lnTo>
                    <a:pt x="334686" y="49051"/>
                  </a:lnTo>
                  <a:lnTo>
                    <a:pt x="293360" y="69615"/>
                  </a:lnTo>
                  <a:lnTo>
                    <a:pt x="254034" y="93369"/>
                  </a:lnTo>
                  <a:lnTo>
                    <a:pt x="216881" y="120142"/>
                  </a:lnTo>
                  <a:lnTo>
                    <a:pt x="182067" y="149765"/>
                  </a:lnTo>
                  <a:lnTo>
                    <a:pt x="149765" y="182067"/>
                  </a:lnTo>
                  <a:lnTo>
                    <a:pt x="120142" y="216881"/>
                  </a:lnTo>
                  <a:lnTo>
                    <a:pt x="93369" y="254034"/>
                  </a:lnTo>
                  <a:lnTo>
                    <a:pt x="69615" y="293360"/>
                  </a:lnTo>
                  <a:lnTo>
                    <a:pt x="49051" y="334686"/>
                  </a:lnTo>
                  <a:lnTo>
                    <a:pt x="31845" y="377844"/>
                  </a:lnTo>
                  <a:lnTo>
                    <a:pt x="18167" y="422665"/>
                  </a:lnTo>
                  <a:lnTo>
                    <a:pt x="8187" y="468978"/>
                  </a:lnTo>
                  <a:lnTo>
                    <a:pt x="2075" y="516614"/>
                  </a:lnTo>
                  <a:lnTo>
                    <a:pt x="0" y="565404"/>
                  </a:lnTo>
                  <a:lnTo>
                    <a:pt x="2075" y="614193"/>
                  </a:lnTo>
                  <a:lnTo>
                    <a:pt x="8187" y="661829"/>
                  </a:lnTo>
                  <a:lnTo>
                    <a:pt x="18167" y="708142"/>
                  </a:lnTo>
                  <a:lnTo>
                    <a:pt x="31845" y="752963"/>
                  </a:lnTo>
                  <a:lnTo>
                    <a:pt x="49051" y="796121"/>
                  </a:lnTo>
                  <a:lnTo>
                    <a:pt x="69615" y="837447"/>
                  </a:lnTo>
                  <a:lnTo>
                    <a:pt x="93369" y="876773"/>
                  </a:lnTo>
                  <a:lnTo>
                    <a:pt x="120142" y="913926"/>
                  </a:lnTo>
                  <a:lnTo>
                    <a:pt x="149765" y="948740"/>
                  </a:lnTo>
                  <a:lnTo>
                    <a:pt x="182067" y="981042"/>
                  </a:lnTo>
                  <a:lnTo>
                    <a:pt x="216881" y="1010665"/>
                  </a:lnTo>
                  <a:lnTo>
                    <a:pt x="254034" y="1037438"/>
                  </a:lnTo>
                  <a:lnTo>
                    <a:pt x="293360" y="1061192"/>
                  </a:lnTo>
                  <a:lnTo>
                    <a:pt x="334686" y="1081756"/>
                  </a:lnTo>
                  <a:lnTo>
                    <a:pt x="377844" y="1098962"/>
                  </a:lnTo>
                  <a:lnTo>
                    <a:pt x="422665" y="1112640"/>
                  </a:lnTo>
                  <a:lnTo>
                    <a:pt x="468978" y="1122620"/>
                  </a:lnTo>
                  <a:lnTo>
                    <a:pt x="516614" y="1128732"/>
                  </a:lnTo>
                  <a:lnTo>
                    <a:pt x="565403" y="1130808"/>
                  </a:lnTo>
                  <a:lnTo>
                    <a:pt x="614193" y="1128732"/>
                  </a:lnTo>
                  <a:lnTo>
                    <a:pt x="661829" y="1122620"/>
                  </a:lnTo>
                  <a:lnTo>
                    <a:pt x="708142" y="1112640"/>
                  </a:lnTo>
                  <a:lnTo>
                    <a:pt x="752963" y="1098962"/>
                  </a:lnTo>
                  <a:lnTo>
                    <a:pt x="796121" y="1081756"/>
                  </a:lnTo>
                  <a:lnTo>
                    <a:pt x="837447" y="1061192"/>
                  </a:lnTo>
                  <a:lnTo>
                    <a:pt x="876773" y="1037438"/>
                  </a:lnTo>
                  <a:lnTo>
                    <a:pt x="913926" y="1010665"/>
                  </a:lnTo>
                  <a:lnTo>
                    <a:pt x="948740" y="981042"/>
                  </a:lnTo>
                  <a:lnTo>
                    <a:pt x="981042" y="948740"/>
                  </a:lnTo>
                  <a:lnTo>
                    <a:pt x="1010665" y="913926"/>
                  </a:lnTo>
                  <a:lnTo>
                    <a:pt x="1037438" y="876773"/>
                  </a:lnTo>
                  <a:lnTo>
                    <a:pt x="1061192" y="837447"/>
                  </a:lnTo>
                  <a:lnTo>
                    <a:pt x="1081756" y="796121"/>
                  </a:lnTo>
                  <a:lnTo>
                    <a:pt x="1098962" y="752963"/>
                  </a:lnTo>
                  <a:lnTo>
                    <a:pt x="1112640" y="708142"/>
                  </a:lnTo>
                  <a:lnTo>
                    <a:pt x="1122620" y="661829"/>
                  </a:lnTo>
                  <a:lnTo>
                    <a:pt x="1128732" y="614193"/>
                  </a:lnTo>
                  <a:lnTo>
                    <a:pt x="1130807" y="565404"/>
                  </a:lnTo>
                  <a:lnTo>
                    <a:pt x="1128732" y="516614"/>
                  </a:lnTo>
                  <a:lnTo>
                    <a:pt x="1122620" y="468978"/>
                  </a:lnTo>
                  <a:lnTo>
                    <a:pt x="1112640" y="422665"/>
                  </a:lnTo>
                  <a:lnTo>
                    <a:pt x="1098962" y="377844"/>
                  </a:lnTo>
                  <a:lnTo>
                    <a:pt x="1081756" y="334686"/>
                  </a:lnTo>
                  <a:lnTo>
                    <a:pt x="1061192" y="293360"/>
                  </a:lnTo>
                  <a:lnTo>
                    <a:pt x="1037438" y="254034"/>
                  </a:lnTo>
                  <a:lnTo>
                    <a:pt x="1010665" y="216881"/>
                  </a:lnTo>
                  <a:lnTo>
                    <a:pt x="981042" y="182067"/>
                  </a:lnTo>
                  <a:lnTo>
                    <a:pt x="948740" y="149765"/>
                  </a:lnTo>
                  <a:lnTo>
                    <a:pt x="913926" y="120142"/>
                  </a:lnTo>
                  <a:lnTo>
                    <a:pt x="876773" y="93369"/>
                  </a:lnTo>
                  <a:lnTo>
                    <a:pt x="837447" y="69615"/>
                  </a:lnTo>
                  <a:lnTo>
                    <a:pt x="796121" y="49051"/>
                  </a:lnTo>
                  <a:lnTo>
                    <a:pt x="752963" y="31845"/>
                  </a:lnTo>
                  <a:lnTo>
                    <a:pt x="708142" y="18167"/>
                  </a:lnTo>
                  <a:lnTo>
                    <a:pt x="661829" y="8187"/>
                  </a:lnTo>
                  <a:lnTo>
                    <a:pt x="614193" y="2075"/>
                  </a:lnTo>
                  <a:lnTo>
                    <a:pt x="565403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92" name="object 41">
              <a:extLst>
                <a:ext uri="{FF2B5EF4-FFF2-40B4-BE49-F238E27FC236}">
                  <a16:creationId xmlns:a16="http://schemas.microsoft.com/office/drawing/2014/main" id="{6712B16C-ED46-44C3-8FE1-72CC07AE3435}"/>
                </a:ext>
              </a:extLst>
            </p:cNvPr>
            <p:cNvSpPr/>
            <p:nvPr/>
          </p:nvSpPr>
          <p:spPr>
            <a:xfrm>
              <a:off x="3547109" y="2032254"/>
              <a:ext cx="1130935" cy="1130935"/>
            </a:xfrm>
            <a:custGeom>
              <a:avLst/>
              <a:gdLst/>
              <a:ahLst/>
              <a:cxnLst/>
              <a:rect l="l" t="t" r="r" b="b"/>
              <a:pathLst>
                <a:path w="1130935" h="1130935">
                  <a:moveTo>
                    <a:pt x="0" y="565404"/>
                  </a:moveTo>
                  <a:lnTo>
                    <a:pt x="2075" y="516614"/>
                  </a:lnTo>
                  <a:lnTo>
                    <a:pt x="8187" y="468978"/>
                  </a:lnTo>
                  <a:lnTo>
                    <a:pt x="18167" y="422665"/>
                  </a:lnTo>
                  <a:lnTo>
                    <a:pt x="31845" y="377844"/>
                  </a:lnTo>
                  <a:lnTo>
                    <a:pt x="49051" y="334686"/>
                  </a:lnTo>
                  <a:lnTo>
                    <a:pt x="69615" y="293360"/>
                  </a:lnTo>
                  <a:lnTo>
                    <a:pt x="93369" y="254034"/>
                  </a:lnTo>
                  <a:lnTo>
                    <a:pt x="120142" y="216881"/>
                  </a:lnTo>
                  <a:lnTo>
                    <a:pt x="149765" y="182067"/>
                  </a:lnTo>
                  <a:lnTo>
                    <a:pt x="182067" y="149765"/>
                  </a:lnTo>
                  <a:lnTo>
                    <a:pt x="216881" y="120142"/>
                  </a:lnTo>
                  <a:lnTo>
                    <a:pt x="254034" y="93369"/>
                  </a:lnTo>
                  <a:lnTo>
                    <a:pt x="293360" y="69615"/>
                  </a:lnTo>
                  <a:lnTo>
                    <a:pt x="334686" y="49051"/>
                  </a:lnTo>
                  <a:lnTo>
                    <a:pt x="377844" y="31845"/>
                  </a:lnTo>
                  <a:lnTo>
                    <a:pt x="422665" y="18167"/>
                  </a:lnTo>
                  <a:lnTo>
                    <a:pt x="468978" y="8187"/>
                  </a:lnTo>
                  <a:lnTo>
                    <a:pt x="516614" y="2075"/>
                  </a:lnTo>
                  <a:lnTo>
                    <a:pt x="565403" y="0"/>
                  </a:lnTo>
                  <a:lnTo>
                    <a:pt x="614193" y="2075"/>
                  </a:lnTo>
                  <a:lnTo>
                    <a:pt x="661829" y="8187"/>
                  </a:lnTo>
                  <a:lnTo>
                    <a:pt x="708142" y="18167"/>
                  </a:lnTo>
                  <a:lnTo>
                    <a:pt x="752963" y="31845"/>
                  </a:lnTo>
                  <a:lnTo>
                    <a:pt x="796121" y="49051"/>
                  </a:lnTo>
                  <a:lnTo>
                    <a:pt x="837447" y="69615"/>
                  </a:lnTo>
                  <a:lnTo>
                    <a:pt x="876773" y="93369"/>
                  </a:lnTo>
                  <a:lnTo>
                    <a:pt x="913926" y="120142"/>
                  </a:lnTo>
                  <a:lnTo>
                    <a:pt x="948740" y="149765"/>
                  </a:lnTo>
                  <a:lnTo>
                    <a:pt x="981042" y="182067"/>
                  </a:lnTo>
                  <a:lnTo>
                    <a:pt x="1010665" y="216881"/>
                  </a:lnTo>
                  <a:lnTo>
                    <a:pt x="1037438" y="254034"/>
                  </a:lnTo>
                  <a:lnTo>
                    <a:pt x="1061192" y="293360"/>
                  </a:lnTo>
                  <a:lnTo>
                    <a:pt x="1081756" y="334686"/>
                  </a:lnTo>
                  <a:lnTo>
                    <a:pt x="1098962" y="377844"/>
                  </a:lnTo>
                  <a:lnTo>
                    <a:pt x="1112640" y="422665"/>
                  </a:lnTo>
                  <a:lnTo>
                    <a:pt x="1122620" y="468978"/>
                  </a:lnTo>
                  <a:lnTo>
                    <a:pt x="1128732" y="516614"/>
                  </a:lnTo>
                  <a:lnTo>
                    <a:pt x="1130807" y="565404"/>
                  </a:lnTo>
                  <a:lnTo>
                    <a:pt x="1128732" y="614193"/>
                  </a:lnTo>
                  <a:lnTo>
                    <a:pt x="1122620" y="661829"/>
                  </a:lnTo>
                  <a:lnTo>
                    <a:pt x="1112640" y="708142"/>
                  </a:lnTo>
                  <a:lnTo>
                    <a:pt x="1098962" y="752963"/>
                  </a:lnTo>
                  <a:lnTo>
                    <a:pt x="1081756" y="796121"/>
                  </a:lnTo>
                  <a:lnTo>
                    <a:pt x="1061192" y="837447"/>
                  </a:lnTo>
                  <a:lnTo>
                    <a:pt x="1037438" y="876773"/>
                  </a:lnTo>
                  <a:lnTo>
                    <a:pt x="1010665" y="913926"/>
                  </a:lnTo>
                  <a:lnTo>
                    <a:pt x="981042" y="948740"/>
                  </a:lnTo>
                  <a:lnTo>
                    <a:pt x="948740" y="981042"/>
                  </a:lnTo>
                  <a:lnTo>
                    <a:pt x="913926" y="1010665"/>
                  </a:lnTo>
                  <a:lnTo>
                    <a:pt x="876773" y="1037438"/>
                  </a:lnTo>
                  <a:lnTo>
                    <a:pt x="837447" y="1061192"/>
                  </a:lnTo>
                  <a:lnTo>
                    <a:pt x="796121" y="1081756"/>
                  </a:lnTo>
                  <a:lnTo>
                    <a:pt x="752963" y="1098962"/>
                  </a:lnTo>
                  <a:lnTo>
                    <a:pt x="708142" y="1112640"/>
                  </a:lnTo>
                  <a:lnTo>
                    <a:pt x="661829" y="1122620"/>
                  </a:lnTo>
                  <a:lnTo>
                    <a:pt x="614193" y="1128732"/>
                  </a:lnTo>
                  <a:lnTo>
                    <a:pt x="565403" y="1130808"/>
                  </a:lnTo>
                  <a:lnTo>
                    <a:pt x="516614" y="1128732"/>
                  </a:lnTo>
                  <a:lnTo>
                    <a:pt x="468978" y="1122620"/>
                  </a:lnTo>
                  <a:lnTo>
                    <a:pt x="422665" y="1112640"/>
                  </a:lnTo>
                  <a:lnTo>
                    <a:pt x="377844" y="1098962"/>
                  </a:lnTo>
                  <a:lnTo>
                    <a:pt x="334686" y="1081756"/>
                  </a:lnTo>
                  <a:lnTo>
                    <a:pt x="293360" y="1061192"/>
                  </a:lnTo>
                  <a:lnTo>
                    <a:pt x="254034" y="1037438"/>
                  </a:lnTo>
                  <a:lnTo>
                    <a:pt x="216881" y="1010665"/>
                  </a:lnTo>
                  <a:lnTo>
                    <a:pt x="182067" y="981042"/>
                  </a:lnTo>
                  <a:lnTo>
                    <a:pt x="149765" y="948740"/>
                  </a:lnTo>
                  <a:lnTo>
                    <a:pt x="120142" y="913926"/>
                  </a:lnTo>
                  <a:lnTo>
                    <a:pt x="93369" y="876773"/>
                  </a:lnTo>
                  <a:lnTo>
                    <a:pt x="69615" y="837447"/>
                  </a:lnTo>
                  <a:lnTo>
                    <a:pt x="49051" y="796121"/>
                  </a:lnTo>
                  <a:lnTo>
                    <a:pt x="31845" y="752963"/>
                  </a:lnTo>
                  <a:lnTo>
                    <a:pt x="18167" y="708142"/>
                  </a:lnTo>
                  <a:lnTo>
                    <a:pt x="8187" y="661829"/>
                  </a:lnTo>
                  <a:lnTo>
                    <a:pt x="2075" y="614193"/>
                  </a:lnTo>
                  <a:lnTo>
                    <a:pt x="0" y="565404"/>
                  </a:lnTo>
                  <a:close/>
                </a:path>
              </a:pathLst>
            </a:custGeom>
            <a:ln w="19812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13" name="object 65">
            <a:extLst>
              <a:ext uri="{FF2B5EF4-FFF2-40B4-BE49-F238E27FC236}">
                <a16:creationId xmlns:a16="http://schemas.microsoft.com/office/drawing/2014/main" id="{9B3E1D7F-F412-4008-9545-AE870ABE068F}"/>
              </a:ext>
            </a:extLst>
          </p:cNvPr>
          <p:cNvSpPr/>
          <p:nvPr/>
        </p:nvSpPr>
        <p:spPr>
          <a:xfrm rot="941282">
            <a:off x="3919150" y="1707655"/>
            <a:ext cx="747242" cy="188872"/>
          </a:xfrm>
          <a:custGeom>
            <a:avLst/>
            <a:gdLst/>
            <a:ahLst/>
            <a:cxnLst/>
            <a:rect l="l" t="t" r="r" b="b"/>
            <a:pathLst>
              <a:path w="1685289" h="352425">
                <a:moveTo>
                  <a:pt x="1621144" y="306764"/>
                </a:moveTo>
                <a:lnTo>
                  <a:pt x="1602486" y="327913"/>
                </a:lnTo>
                <a:lnTo>
                  <a:pt x="1684782" y="349758"/>
                </a:lnTo>
                <a:lnTo>
                  <a:pt x="1670790" y="315087"/>
                </a:lnTo>
                <a:lnTo>
                  <a:pt x="1631188" y="315087"/>
                </a:lnTo>
                <a:lnTo>
                  <a:pt x="1621144" y="306764"/>
                </a:lnTo>
                <a:close/>
              </a:path>
              <a:path w="1685289" h="352425">
                <a:moveTo>
                  <a:pt x="1633736" y="292491"/>
                </a:moveTo>
                <a:lnTo>
                  <a:pt x="1621144" y="306764"/>
                </a:lnTo>
                <a:lnTo>
                  <a:pt x="1631188" y="315087"/>
                </a:lnTo>
                <a:lnTo>
                  <a:pt x="1643380" y="300482"/>
                </a:lnTo>
                <a:lnTo>
                  <a:pt x="1633736" y="292491"/>
                </a:lnTo>
                <a:close/>
              </a:path>
              <a:path w="1685289" h="352425">
                <a:moveTo>
                  <a:pt x="1652905" y="270763"/>
                </a:moveTo>
                <a:lnTo>
                  <a:pt x="1633736" y="292491"/>
                </a:lnTo>
                <a:lnTo>
                  <a:pt x="1643380" y="300482"/>
                </a:lnTo>
                <a:lnTo>
                  <a:pt x="1631188" y="315087"/>
                </a:lnTo>
                <a:lnTo>
                  <a:pt x="1670790" y="315087"/>
                </a:lnTo>
                <a:lnTo>
                  <a:pt x="1652905" y="270763"/>
                </a:lnTo>
                <a:close/>
              </a:path>
              <a:path w="1685289" h="352425">
                <a:moveTo>
                  <a:pt x="1583689" y="252222"/>
                </a:moveTo>
                <a:lnTo>
                  <a:pt x="1572387" y="267588"/>
                </a:lnTo>
                <a:lnTo>
                  <a:pt x="1585976" y="277622"/>
                </a:lnTo>
                <a:lnTo>
                  <a:pt x="1621144" y="306764"/>
                </a:lnTo>
                <a:lnTo>
                  <a:pt x="1633736" y="292491"/>
                </a:lnTo>
                <a:lnTo>
                  <a:pt x="1598168" y="263017"/>
                </a:lnTo>
                <a:lnTo>
                  <a:pt x="1583689" y="252222"/>
                </a:lnTo>
                <a:close/>
              </a:path>
              <a:path w="1685289" h="352425">
                <a:moveTo>
                  <a:pt x="1472311" y="177292"/>
                </a:moveTo>
                <a:lnTo>
                  <a:pt x="1462532" y="193675"/>
                </a:lnTo>
                <a:lnTo>
                  <a:pt x="1488567" y="209296"/>
                </a:lnTo>
                <a:lnTo>
                  <a:pt x="1526286" y="234442"/>
                </a:lnTo>
                <a:lnTo>
                  <a:pt x="1536954" y="218694"/>
                </a:lnTo>
                <a:lnTo>
                  <a:pt x="1499108" y="193421"/>
                </a:lnTo>
                <a:lnTo>
                  <a:pt x="1472311" y="177292"/>
                </a:lnTo>
                <a:close/>
              </a:path>
              <a:path w="1685289" h="352425">
                <a:moveTo>
                  <a:pt x="1353693" y="114553"/>
                </a:moveTo>
                <a:lnTo>
                  <a:pt x="1345564" y="131825"/>
                </a:lnTo>
                <a:lnTo>
                  <a:pt x="1386586" y="151384"/>
                </a:lnTo>
                <a:lnTo>
                  <a:pt x="1413256" y="165608"/>
                </a:lnTo>
                <a:lnTo>
                  <a:pt x="1422273" y="148844"/>
                </a:lnTo>
                <a:lnTo>
                  <a:pt x="1395602" y="134493"/>
                </a:lnTo>
                <a:lnTo>
                  <a:pt x="1353693" y="114553"/>
                </a:lnTo>
                <a:close/>
              </a:path>
              <a:path w="1685289" h="352425">
                <a:moveTo>
                  <a:pt x="1228725" y="64770"/>
                </a:moveTo>
                <a:lnTo>
                  <a:pt x="1223010" y="82931"/>
                </a:lnTo>
                <a:lnTo>
                  <a:pt x="1226820" y="84200"/>
                </a:lnTo>
                <a:lnTo>
                  <a:pt x="1280922" y="103886"/>
                </a:lnTo>
                <a:lnTo>
                  <a:pt x="1293495" y="109220"/>
                </a:lnTo>
                <a:lnTo>
                  <a:pt x="1300861" y="91694"/>
                </a:lnTo>
                <a:lnTo>
                  <a:pt x="1288288" y="86360"/>
                </a:lnTo>
                <a:lnTo>
                  <a:pt x="1233424" y="66294"/>
                </a:lnTo>
                <a:lnTo>
                  <a:pt x="1228725" y="64770"/>
                </a:lnTo>
                <a:close/>
              </a:path>
              <a:path w="1685289" h="352425">
                <a:moveTo>
                  <a:pt x="1099312" y="29210"/>
                </a:moveTo>
                <a:lnTo>
                  <a:pt x="1095375" y="47751"/>
                </a:lnTo>
                <a:lnTo>
                  <a:pt x="1116965" y="52450"/>
                </a:lnTo>
                <a:lnTo>
                  <a:pt x="1168781" y="66039"/>
                </a:lnTo>
                <a:lnTo>
                  <a:pt x="1173734" y="47625"/>
                </a:lnTo>
                <a:lnTo>
                  <a:pt x="1121918" y="34036"/>
                </a:lnTo>
                <a:lnTo>
                  <a:pt x="1099312" y="29210"/>
                </a:lnTo>
                <a:close/>
              </a:path>
              <a:path w="1685289" h="352425">
                <a:moveTo>
                  <a:pt x="966978" y="7365"/>
                </a:moveTo>
                <a:lnTo>
                  <a:pt x="964692" y="26288"/>
                </a:lnTo>
                <a:lnTo>
                  <a:pt x="1005459" y="31114"/>
                </a:lnTo>
                <a:lnTo>
                  <a:pt x="1039749" y="36957"/>
                </a:lnTo>
                <a:lnTo>
                  <a:pt x="1042797" y="18161"/>
                </a:lnTo>
                <a:lnTo>
                  <a:pt x="1008634" y="12446"/>
                </a:lnTo>
                <a:lnTo>
                  <a:pt x="966978" y="7365"/>
                </a:lnTo>
                <a:close/>
              </a:path>
              <a:path w="1685289" h="352425">
                <a:moveTo>
                  <a:pt x="837057" y="0"/>
                </a:moveTo>
                <a:lnTo>
                  <a:pt x="832612" y="0"/>
                </a:lnTo>
                <a:lnTo>
                  <a:pt x="832993" y="19050"/>
                </a:lnTo>
                <a:lnTo>
                  <a:pt x="836549" y="19050"/>
                </a:lnTo>
                <a:lnTo>
                  <a:pt x="892937" y="20447"/>
                </a:lnTo>
                <a:lnTo>
                  <a:pt x="908177" y="21462"/>
                </a:lnTo>
                <a:lnTo>
                  <a:pt x="909574" y="2539"/>
                </a:lnTo>
                <a:lnTo>
                  <a:pt x="894334" y="1397"/>
                </a:lnTo>
                <a:lnTo>
                  <a:pt x="837057" y="0"/>
                </a:lnTo>
                <a:close/>
              </a:path>
              <a:path w="1685289" h="352425">
                <a:moveTo>
                  <a:pt x="774954" y="1397"/>
                </a:moveTo>
                <a:lnTo>
                  <a:pt x="722884" y="4952"/>
                </a:lnTo>
                <a:lnTo>
                  <a:pt x="698627" y="7747"/>
                </a:lnTo>
                <a:lnTo>
                  <a:pt x="700786" y="26670"/>
                </a:lnTo>
                <a:lnTo>
                  <a:pt x="724281" y="24002"/>
                </a:lnTo>
                <a:lnTo>
                  <a:pt x="776224" y="20447"/>
                </a:lnTo>
                <a:lnTo>
                  <a:pt x="774954" y="1397"/>
                </a:lnTo>
                <a:close/>
              </a:path>
              <a:path w="1685289" h="352425">
                <a:moveTo>
                  <a:pt x="641604" y="15494"/>
                </a:moveTo>
                <a:lnTo>
                  <a:pt x="609854" y="20574"/>
                </a:lnTo>
                <a:lnTo>
                  <a:pt x="566293" y="29845"/>
                </a:lnTo>
                <a:lnTo>
                  <a:pt x="570230" y="48513"/>
                </a:lnTo>
                <a:lnTo>
                  <a:pt x="612902" y="39370"/>
                </a:lnTo>
                <a:lnTo>
                  <a:pt x="644652" y="34289"/>
                </a:lnTo>
                <a:lnTo>
                  <a:pt x="641604" y="15494"/>
                </a:lnTo>
                <a:close/>
              </a:path>
              <a:path w="1685289" h="352425">
                <a:moveTo>
                  <a:pt x="510413" y="43814"/>
                </a:moveTo>
                <a:lnTo>
                  <a:pt x="498602" y="46989"/>
                </a:lnTo>
                <a:lnTo>
                  <a:pt x="443992" y="64135"/>
                </a:lnTo>
                <a:lnTo>
                  <a:pt x="436753" y="66801"/>
                </a:lnTo>
                <a:lnTo>
                  <a:pt x="443357" y="84709"/>
                </a:lnTo>
                <a:lnTo>
                  <a:pt x="449707" y="82296"/>
                </a:lnTo>
                <a:lnTo>
                  <a:pt x="503555" y="65405"/>
                </a:lnTo>
                <a:lnTo>
                  <a:pt x="515239" y="62357"/>
                </a:lnTo>
                <a:lnTo>
                  <a:pt x="510413" y="43814"/>
                </a:lnTo>
                <a:close/>
              </a:path>
              <a:path w="1685289" h="352425">
                <a:moveTo>
                  <a:pt x="382905" y="86995"/>
                </a:moveTo>
                <a:lnTo>
                  <a:pt x="337185" y="106425"/>
                </a:lnTo>
                <a:lnTo>
                  <a:pt x="312928" y="118237"/>
                </a:lnTo>
                <a:lnTo>
                  <a:pt x="321183" y="135382"/>
                </a:lnTo>
                <a:lnTo>
                  <a:pt x="344678" y="123951"/>
                </a:lnTo>
                <a:lnTo>
                  <a:pt x="390398" y="104521"/>
                </a:lnTo>
                <a:lnTo>
                  <a:pt x="382905" y="86995"/>
                </a:lnTo>
                <a:close/>
              </a:path>
              <a:path w="1685289" h="352425">
                <a:moveTo>
                  <a:pt x="261620" y="144525"/>
                </a:moveTo>
                <a:lnTo>
                  <a:pt x="234442" y="159385"/>
                </a:lnTo>
                <a:lnTo>
                  <a:pt x="195580" y="183387"/>
                </a:lnTo>
                <a:lnTo>
                  <a:pt x="205486" y="199517"/>
                </a:lnTo>
                <a:lnTo>
                  <a:pt x="243586" y="176149"/>
                </a:lnTo>
                <a:lnTo>
                  <a:pt x="270764" y="161289"/>
                </a:lnTo>
                <a:lnTo>
                  <a:pt x="261620" y="144525"/>
                </a:lnTo>
                <a:close/>
              </a:path>
              <a:path w="1685289" h="352425">
                <a:moveTo>
                  <a:pt x="147574" y="215392"/>
                </a:moveTo>
                <a:lnTo>
                  <a:pt x="136398" y="223138"/>
                </a:lnTo>
                <a:lnTo>
                  <a:pt x="89408" y="258952"/>
                </a:lnTo>
                <a:lnTo>
                  <a:pt x="85979" y="261747"/>
                </a:lnTo>
                <a:lnTo>
                  <a:pt x="98298" y="276225"/>
                </a:lnTo>
                <a:lnTo>
                  <a:pt x="100837" y="274065"/>
                </a:lnTo>
                <a:lnTo>
                  <a:pt x="147193" y="238760"/>
                </a:lnTo>
                <a:lnTo>
                  <a:pt x="158369" y="231139"/>
                </a:lnTo>
                <a:lnTo>
                  <a:pt x="147574" y="215392"/>
                </a:lnTo>
                <a:close/>
              </a:path>
              <a:path w="1685289" h="352425">
                <a:moveTo>
                  <a:pt x="42037" y="299085"/>
                </a:moveTo>
                <a:lnTo>
                  <a:pt x="0" y="338582"/>
                </a:lnTo>
                <a:lnTo>
                  <a:pt x="13081" y="352425"/>
                </a:lnTo>
                <a:lnTo>
                  <a:pt x="55118" y="313055"/>
                </a:lnTo>
                <a:lnTo>
                  <a:pt x="42037" y="299085"/>
                </a:lnTo>
                <a:close/>
              </a:path>
            </a:pathLst>
          </a:custGeom>
          <a:solidFill>
            <a:srgbClr val="A6A6A6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4" name="object 65">
            <a:extLst>
              <a:ext uri="{FF2B5EF4-FFF2-40B4-BE49-F238E27FC236}">
                <a16:creationId xmlns:a16="http://schemas.microsoft.com/office/drawing/2014/main" id="{2A989A70-F8B5-4775-8014-353E99E7A438}"/>
              </a:ext>
            </a:extLst>
          </p:cNvPr>
          <p:cNvSpPr/>
          <p:nvPr/>
        </p:nvSpPr>
        <p:spPr>
          <a:xfrm rot="17973879">
            <a:off x="5311807" y="2892615"/>
            <a:ext cx="682975" cy="134381"/>
          </a:xfrm>
          <a:custGeom>
            <a:avLst/>
            <a:gdLst/>
            <a:ahLst/>
            <a:cxnLst/>
            <a:rect l="l" t="t" r="r" b="b"/>
            <a:pathLst>
              <a:path w="1685289" h="352425">
                <a:moveTo>
                  <a:pt x="1621144" y="306764"/>
                </a:moveTo>
                <a:lnTo>
                  <a:pt x="1602486" y="327913"/>
                </a:lnTo>
                <a:lnTo>
                  <a:pt x="1684782" y="349758"/>
                </a:lnTo>
                <a:lnTo>
                  <a:pt x="1670790" y="315087"/>
                </a:lnTo>
                <a:lnTo>
                  <a:pt x="1631188" y="315087"/>
                </a:lnTo>
                <a:lnTo>
                  <a:pt x="1621144" y="306764"/>
                </a:lnTo>
                <a:close/>
              </a:path>
              <a:path w="1685289" h="352425">
                <a:moveTo>
                  <a:pt x="1633736" y="292491"/>
                </a:moveTo>
                <a:lnTo>
                  <a:pt x="1621144" y="306764"/>
                </a:lnTo>
                <a:lnTo>
                  <a:pt x="1631188" y="315087"/>
                </a:lnTo>
                <a:lnTo>
                  <a:pt x="1643380" y="300482"/>
                </a:lnTo>
                <a:lnTo>
                  <a:pt x="1633736" y="292491"/>
                </a:lnTo>
                <a:close/>
              </a:path>
              <a:path w="1685289" h="352425">
                <a:moveTo>
                  <a:pt x="1652905" y="270763"/>
                </a:moveTo>
                <a:lnTo>
                  <a:pt x="1633736" y="292491"/>
                </a:lnTo>
                <a:lnTo>
                  <a:pt x="1643380" y="300482"/>
                </a:lnTo>
                <a:lnTo>
                  <a:pt x="1631188" y="315087"/>
                </a:lnTo>
                <a:lnTo>
                  <a:pt x="1670790" y="315087"/>
                </a:lnTo>
                <a:lnTo>
                  <a:pt x="1652905" y="270763"/>
                </a:lnTo>
                <a:close/>
              </a:path>
              <a:path w="1685289" h="352425">
                <a:moveTo>
                  <a:pt x="1583689" y="252222"/>
                </a:moveTo>
                <a:lnTo>
                  <a:pt x="1572387" y="267588"/>
                </a:lnTo>
                <a:lnTo>
                  <a:pt x="1585976" y="277622"/>
                </a:lnTo>
                <a:lnTo>
                  <a:pt x="1621144" y="306764"/>
                </a:lnTo>
                <a:lnTo>
                  <a:pt x="1633736" y="292491"/>
                </a:lnTo>
                <a:lnTo>
                  <a:pt x="1598168" y="263017"/>
                </a:lnTo>
                <a:lnTo>
                  <a:pt x="1583689" y="252222"/>
                </a:lnTo>
                <a:close/>
              </a:path>
              <a:path w="1685289" h="352425">
                <a:moveTo>
                  <a:pt x="1472311" y="177292"/>
                </a:moveTo>
                <a:lnTo>
                  <a:pt x="1462532" y="193675"/>
                </a:lnTo>
                <a:lnTo>
                  <a:pt x="1488567" y="209296"/>
                </a:lnTo>
                <a:lnTo>
                  <a:pt x="1526286" y="234442"/>
                </a:lnTo>
                <a:lnTo>
                  <a:pt x="1536954" y="218694"/>
                </a:lnTo>
                <a:lnTo>
                  <a:pt x="1499108" y="193421"/>
                </a:lnTo>
                <a:lnTo>
                  <a:pt x="1472311" y="177292"/>
                </a:lnTo>
                <a:close/>
              </a:path>
              <a:path w="1685289" h="352425">
                <a:moveTo>
                  <a:pt x="1353693" y="114553"/>
                </a:moveTo>
                <a:lnTo>
                  <a:pt x="1345564" y="131825"/>
                </a:lnTo>
                <a:lnTo>
                  <a:pt x="1386586" y="151384"/>
                </a:lnTo>
                <a:lnTo>
                  <a:pt x="1413256" y="165608"/>
                </a:lnTo>
                <a:lnTo>
                  <a:pt x="1422273" y="148844"/>
                </a:lnTo>
                <a:lnTo>
                  <a:pt x="1395602" y="134493"/>
                </a:lnTo>
                <a:lnTo>
                  <a:pt x="1353693" y="114553"/>
                </a:lnTo>
                <a:close/>
              </a:path>
              <a:path w="1685289" h="352425">
                <a:moveTo>
                  <a:pt x="1228725" y="64770"/>
                </a:moveTo>
                <a:lnTo>
                  <a:pt x="1223010" y="82931"/>
                </a:lnTo>
                <a:lnTo>
                  <a:pt x="1226820" y="84200"/>
                </a:lnTo>
                <a:lnTo>
                  <a:pt x="1280922" y="103886"/>
                </a:lnTo>
                <a:lnTo>
                  <a:pt x="1293495" y="109220"/>
                </a:lnTo>
                <a:lnTo>
                  <a:pt x="1300861" y="91694"/>
                </a:lnTo>
                <a:lnTo>
                  <a:pt x="1288288" y="86360"/>
                </a:lnTo>
                <a:lnTo>
                  <a:pt x="1233424" y="66294"/>
                </a:lnTo>
                <a:lnTo>
                  <a:pt x="1228725" y="64770"/>
                </a:lnTo>
                <a:close/>
              </a:path>
              <a:path w="1685289" h="352425">
                <a:moveTo>
                  <a:pt x="1099312" y="29210"/>
                </a:moveTo>
                <a:lnTo>
                  <a:pt x="1095375" y="47751"/>
                </a:lnTo>
                <a:lnTo>
                  <a:pt x="1116965" y="52450"/>
                </a:lnTo>
                <a:lnTo>
                  <a:pt x="1168781" y="66039"/>
                </a:lnTo>
                <a:lnTo>
                  <a:pt x="1173734" y="47625"/>
                </a:lnTo>
                <a:lnTo>
                  <a:pt x="1121918" y="34036"/>
                </a:lnTo>
                <a:lnTo>
                  <a:pt x="1099312" y="29210"/>
                </a:lnTo>
                <a:close/>
              </a:path>
              <a:path w="1685289" h="352425">
                <a:moveTo>
                  <a:pt x="966978" y="7365"/>
                </a:moveTo>
                <a:lnTo>
                  <a:pt x="964692" y="26288"/>
                </a:lnTo>
                <a:lnTo>
                  <a:pt x="1005459" y="31114"/>
                </a:lnTo>
                <a:lnTo>
                  <a:pt x="1039749" y="36957"/>
                </a:lnTo>
                <a:lnTo>
                  <a:pt x="1042797" y="18161"/>
                </a:lnTo>
                <a:lnTo>
                  <a:pt x="1008634" y="12446"/>
                </a:lnTo>
                <a:lnTo>
                  <a:pt x="966978" y="7365"/>
                </a:lnTo>
                <a:close/>
              </a:path>
              <a:path w="1685289" h="352425">
                <a:moveTo>
                  <a:pt x="837057" y="0"/>
                </a:moveTo>
                <a:lnTo>
                  <a:pt x="832612" y="0"/>
                </a:lnTo>
                <a:lnTo>
                  <a:pt x="832993" y="19050"/>
                </a:lnTo>
                <a:lnTo>
                  <a:pt x="836549" y="19050"/>
                </a:lnTo>
                <a:lnTo>
                  <a:pt x="892937" y="20447"/>
                </a:lnTo>
                <a:lnTo>
                  <a:pt x="908177" y="21462"/>
                </a:lnTo>
                <a:lnTo>
                  <a:pt x="909574" y="2539"/>
                </a:lnTo>
                <a:lnTo>
                  <a:pt x="894334" y="1397"/>
                </a:lnTo>
                <a:lnTo>
                  <a:pt x="837057" y="0"/>
                </a:lnTo>
                <a:close/>
              </a:path>
              <a:path w="1685289" h="352425">
                <a:moveTo>
                  <a:pt x="774954" y="1397"/>
                </a:moveTo>
                <a:lnTo>
                  <a:pt x="722884" y="4952"/>
                </a:lnTo>
                <a:lnTo>
                  <a:pt x="698627" y="7747"/>
                </a:lnTo>
                <a:lnTo>
                  <a:pt x="700786" y="26670"/>
                </a:lnTo>
                <a:lnTo>
                  <a:pt x="724281" y="24002"/>
                </a:lnTo>
                <a:lnTo>
                  <a:pt x="776224" y="20447"/>
                </a:lnTo>
                <a:lnTo>
                  <a:pt x="774954" y="1397"/>
                </a:lnTo>
                <a:close/>
              </a:path>
              <a:path w="1685289" h="352425">
                <a:moveTo>
                  <a:pt x="641604" y="15494"/>
                </a:moveTo>
                <a:lnTo>
                  <a:pt x="609854" y="20574"/>
                </a:lnTo>
                <a:lnTo>
                  <a:pt x="566293" y="29845"/>
                </a:lnTo>
                <a:lnTo>
                  <a:pt x="570230" y="48513"/>
                </a:lnTo>
                <a:lnTo>
                  <a:pt x="612902" y="39370"/>
                </a:lnTo>
                <a:lnTo>
                  <a:pt x="644652" y="34289"/>
                </a:lnTo>
                <a:lnTo>
                  <a:pt x="641604" y="15494"/>
                </a:lnTo>
                <a:close/>
              </a:path>
              <a:path w="1685289" h="352425">
                <a:moveTo>
                  <a:pt x="510413" y="43814"/>
                </a:moveTo>
                <a:lnTo>
                  <a:pt x="498602" y="46989"/>
                </a:lnTo>
                <a:lnTo>
                  <a:pt x="443992" y="64135"/>
                </a:lnTo>
                <a:lnTo>
                  <a:pt x="436753" y="66801"/>
                </a:lnTo>
                <a:lnTo>
                  <a:pt x="443357" y="84709"/>
                </a:lnTo>
                <a:lnTo>
                  <a:pt x="449707" y="82296"/>
                </a:lnTo>
                <a:lnTo>
                  <a:pt x="503555" y="65405"/>
                </a:lnTo>
                <a:lnTo>
                  <a:pt x="515239" y="62357"/>
                </a:lnTo>
                <a:lnTo>
                  <a:pt x="510413" y="43814"/>
                </a:lnTo>
                <a:close/>
              </a:path>
              <a:path w="1685289" h="352425">
                <a:moveTo>
                  <a:pt x="382905" y="86995"/>
                </a:moveTo>
                <a:lnTo>
                  <a:pt x="337185" y="106425"/>
                </a:lnTo>
                <a:lnTo>
                  <a:pt x="312928" y="118237"/>
                </a:lnTo>
                <a:lnTo>
                  <a:pt x="321183" y="135382"/>
                </a:lnTo>
                <a:lnTo>
                  <a:pt x="344678" y="123951"/>
                </a:lnTo>
                <a:lnTo>
                  <a:pt x="390398" y="104521"/>
                </a:lnTo>
                <a:lnTo>
                  <a:pt x="382905" y="86995"/>
                </a:lnTo>
                <a:close/>
              </a:path>
              <a:path w="1685289" h="352425">
                <a:moveTo>
                  <a:pt x="261620" y="144525"/>
                </a:moveTo>
                <a:lnTo>
                  <a:pt x="234442" y="159385"/>
                </a:lnTo>
                <a:lnTo>
                  <a:pt x="195580" y="183387"/>
                </a:lnTo>
                <a:lnTo>
                  <a:pt x="205486" y="199517"/>
                </a:lnTo>
                <a:lnTo>
                  <a:pt x="243586" y="176149"/>
                </a:lnTo>
                <a:lnTo>
                  <a:pt x="270764" y="161289"/>
                </a:lnTo>
                <a:lnTo>
                  <a:pt x="261620" y="144525"/>
                </a:lnTo>
                <a:close/>
              </a:path>
              <a:path w="1685289" h="352425">
                <a:moveTo>
                  <a:pt x="147574" y="215392"/>
                </a:moveTo>
                <a:lnTo>
                  <a:pt x="136398" y="223138"/>
                </a:lnTo>
                <a:lnTo>
                  <a:pt x="89408" y="258952"/>
                </a:lnTo>
                <a:lnTo>
                  <a:pt x="85979" y="261747"/>
                </a:lnTo>
                <a:lnTo>
                  <a:pt x="98298" y="276225"/>
                </a:lnTo>
                <a:lnTo>
                  <a:pt x="100837" y="274065"/>
                </a:lnTo>
                <a:lnTo>
                  <a:pt x="147193" y="238760"/>
                </a:lnTo>
                <a:lnTo>
                  <a:pt x="158369" y="231139"/>
                </a:lnTo>
                <a:lnTo>
                  <a:pt x="147574" y="215392"/>
                </a:lnTo>
                <a:close/>
              </a:path>
              <a:path w="1685289" h="352425">
                <a:moveTo>
                  <a:pt x="42037" y="299085"/>
                </a:moveTo>
                <a:lnTo>
                  <a:pt x="0" y="338582"/>
                </a:lnTo>
                <a:lnTo>
                  <a:pt x="13081" y="352425"/>
                </a:lnTo>
                <a:lnTo>
                  <a:pt x="55118" y="313055"/>
                </a:lnTo>
                <a:lnTo>
                  <a:pt x="42037" y="299085"/>
                </a:lnTo>
                <a:close/>
              </a:path>
            </a:pathLst>
          </a:custGeom>
          <a:solidFill>
            <a:srgbClr val="A6A6A6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5" name="object 21">
            <a:extLst>
              <a:ext uri="{FF2B5EF4-FFF2-40B4-BE49-F238E27FC236}">
                <a16:creationId xmlns:a16="http://schemas.microsoft.com/office/drawing/2014/main" id="{AF030378-83F5-4491-B023-BE93771547B9}"/>
              </a:ext>
            </a:extLst>
          </p:cNvPr>
          <p:cNvSpPr txBox="1"/>
          <p:nvPr/>
        </p:nvSpPr>
        <p:spPr>
          <a:xfrm>
            <a:off x="1833273" y="4320712"/>
            <a:ext cx="1697443" cy="4154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pPr marL="12700" marR="5080" lvl="0" indent="635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-1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Mottar</a:t>
            </a:r>
            <a:r>
              <a:rPr kumimoji="0" lang="en-US" sz="900" b="0" i="0" u="none" strike="noStrike" kern="1200" cap="none" spc="-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 </a:t>
            </a:r>
            <a:r>
              <a:rPr kumimoji="0" lang="en-US" sz="900" b="0" i="0" u="none" strike="noStrike" kern="1200" cap="none" spc="-1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behovsinnmelding</a:t>
            </a:r>
            <a:r>
              <a:rPr kumimoji="0" lang="en-US" sz="900" b="0" i="0" u="none" strike="noStrike" kern="1200" cap="none" spc="-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 </a:t>
            </a:r>
            <a:r>
              <a:rPr kumimoji="0" lang="en-US" sz="900" b="0" i="0" u="none" strike="noStrike" kern="1200" cap="none" spc="-1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og</a:t>
            </a:r>
            <a:r>
              <a:rPr kumimoji="0" lang="en-US" sz="900" b="0" i="0" u="none" strike="noStrike" kern="1200" cap="none" spc="-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 </a:t>
            </a:r>
            <a:r>
              <a:rPr kumimoji="0" lang="en-US" sz="900" b="0" i="0" u="none" strike="noStrike" kern="1200" cap="none" spc="-1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oppretter</a:t>
            </a:r>
            <a:r>
              <a:rPr kumimoji="0" lang="en-US" sz="900" b="0" i="0" u="none" strike="noStrike" kern="1200" cap="none" spc="-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 </a:t>
            </a:r>
            <a:r>
              <a:rPr kumimoji="0" lang="en-US" sz="900" b="0" i="0" u="none" strike="noStrike" kern="1200" cap="none" spc="-1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innkjøpsforespørsel</a:t>
            </a:r>
            <a:r>
              <a:rPr kumimoji="0" lang="en-US" sz="900" b="0" i="0" u="none" strike="noStrike" kern="1200" cap="none" spc="-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 I Unit4 ERP</a:t>
            </a:r>
          </a:p>
        </p:txBody>
      </p:sp>
      <p:sp>
        <p:nvSpPr>
          <p:cNvPr id="16" name="object 52">
            <a:extLst>
              <a:ext uri="{FF2B5EF4-FFF2-40B4-BE49-F238E27FC236}">
                <a16:creationId xmlns:a16="http://schemas.microsoft.com/office/drawing/2014/main" id="{B2EEC503-D87C-42A2-B0CC-0E156A6BC24E}"/>
              </a:ext>
            </a:extLst>
          </p:cNvPr>
          <p:cNvSpPr txBox="1"/>
          <p:nvPr/>
        </p:nvSpPr>
        <p:spPr>
          <a:xfrm>
            <a:off x="3907532" y="3239142"/>
            <a:ext cx="782447" cy="24770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 lvl="0" indent="0" algn="ctr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-5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Innkjøpsordre</a:t>
            </a:r>
            <a:r>
              <a:rPr kumimoji="0" lang="en-US" sz="900" b="0" i="0" u="none" strike="noStrike" kern="1200" cap="none" spc="-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 </a:t>
            </a:r>
            <a:r>
              <a:rPr kumimoji="0" lang="en-US" sz="900" b="0" i="0" u="none" strike="noStrike" kern="1200" cap="none" spc="-5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sendes</a:t>
            </a:r>
            <a:endParaRPr kumimoji="0" lang="en-US" sz="900" b="0" i="0" u="none" strike="noStrike" kern="1200" cap="none" spc="-5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Verdana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5CD6C092-4EB0-4390-A68A-DFDB24F244AC}"/>
              </a:ext>
            </a:extLst>
          </p:cNvPr>
          <p:cNvGrpSpPr/>
          <p:nvPr/>
        </p:nvGrpSpPr>
        <p:grpSpPr>
          <a:xfrm>
            <a:off x="4609495" y="2275619"/>
            <a:ext cx="389898" cy="468510"/>
            <a:chOff x="6267547" y="1891446"/>
            <a:chExt cx="692727" cy="768296"/>
          </a:xfrm>
        </p:grpSpPr>
        <p:sp>
          <p:nvSpPr>
            <p:cNvPr id="82" name="object 40">
              <a:extLst>
                <a:ext uri="{FF2B5EF4-FFF2-40B4-BE49-F238E27FC236}">
                  <a16:creationId xmlns:a16="http://schemas.microsoft.com/office/drawing/2014/main" id="{000E4599-A5B0-4B57-999F-F3D73C69EC66}"/>
                </a:ext>
              </a:extLst>
            </p:cNvPr>
            <p:cNvSpPr/>
            <p:nvPr/>
          </p:nvSpPr>
          <p:spPr>
            <a:xfrm>
              <a:off x="6267547" y="1891446"/>
              <a:ext cx="692727" cy="768296"/>
            </a:xfrm>
            <a:prstGeom prst="rect">
              <a:avLst/>
            </a:prstGeom>
            <a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83" name="object 43">
              <a:extLst>
                <a:ext uri="{FF2B5EF4-FFF2-40B4-BE49-F238E27FC236}">
                  <a16:creationId xmlns:a16="http://schemas.microsoft.com/office/drawing/2014/main" id="{214F255A-BBF8-4BF5-85C5-BE27FA4EDFC1}"/>
                </a:ext>
              </a:extLst>
            </p:cNvPr>
            <p:cNvSpPr/>
            <p:nvPr/>
          </p:nvSpPr>
          <p:spPr>
            <a:xfrm>
              <a:off x="6441454" y="2057207"/>
              <a:ext cx="203678" cy="218975"/>
            </a:xfrm>
            <a:prstGeom prst="rect">
              <a:avLst/>
            </a:prstGeom>
            <a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grpSp>
          <p:nvGrpSpPr>
            <p:cNvPr id="84" name="Group 83">
              <a:extLst>
                <a:ext uri="{FF2B5EF4-FFF2-40B4-BE49-F238E27FC236}">
                  <a16:creationId xmlns:a16="http://schemas.microsoft.com/office/drawing/2014/main" id="{E05F06A8-4BFA-42EF-BC2F-97A67BB68BAE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661374" y="2067595"/>
              <a:ext cx="125494" cy="125495"/>
              <a:chOff x="5060951" y="5997575"/>
              <a:chExt cx="247650" cy="247651"/>
            </a:xfrm>
          </p:grpSpPr>
          <p:sp>
            <p:nvSpPr>
              <p:cNvPr id="85" name="Freeform 328">
                <a:extLst>
                  <a:ext uri="{FF2B5EF4-FFF2-40B4-BE49-F238E27FC236}">
                    <a16:creationId xmlns:a16="http://schemas.microsoft.com/office/drawing/2014/main" id="{D8A459A7-71EA-4543-A983-1B1E23916A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3338" y="6189663"/>
                <a:ext cx="55563" cy="55563"/>
              </a:xfrm>
              <a:custGeom>
                <a:avLst/>
                <a:gdLst>
                  <a:gd name="T0" fmla="*/ 36 w 71"/>
                  <a:gd name="T1" fmla="*/ 0 h 71"/>
                  <a:gd name="T2" fmla="*/ 36 w 71"/>
                  <a:gd name="T3" fmla="*/ 0 h 71"/>
                  <a:gd name="T4" fmla="*/ 28 w 71"/>
                  <a:gd name="T5" fmla="*/ 0 h 71"/>
                  <a:gd name="T6" fmla="*/ 21 w 71"/>
                  <a:gd name="T7" fmla="*/ 2 h 71"/>
                  <a:gd name="T8" fmla="*/ 16 w 71"/>
                  <a:gd name="T9" fmla="*/ 5 h 71"/>
                  <a:gd name="T10" fmla="*/ 10 w 71"/>
                  <a:gd name="T11" fmla="*/ 10 h 71"/>
                  <a:gd name="T12" fmla="*/ 5 w 71"/>
                  <a:gd name="T13" fmla="*/ 16 h 71"/>
                  <a:gd name="T14" fmla="*/ 2 w 71"/>
                  <a:gd name="T15" fmla="*/ 21 h 71"/>
                  <a:gd name="T16" fmla="*/ 0 w 71"/>
                  <a:gd name="T17" fmla="*/ 28 h 71"/>
                  <a:gd name="T18" fmla="*/ 0 w 71"/>
                  <a:gd name="T19" fmla="*/ 34 h 71"/>
                  <a:gd name="T20" fmla="*/ 0 w 71"/>
                  <a:gd name="T21" fmla="*/ 34 h 71"/>
                  <a:gd name="T22" fmla="*/ 0 w 71"/>
                  <a:gd name="T23" fmla="*/ 43 h 71"/>
                  <a:gd name="T24" fmla="*/ 2 w 71"/>
                  <a:gd name="T25" fmla="*/ 49 h 71"/>
                  <a:gd name="T26" fmla="*/ 5 w 71"/>
                  <a:gd name="T27" fmla="*/ 55 h 71"/>
                  <a:gd name="T28" fmla="*/ 10 w 71"/>
                  <a:gd name="T29" fmla="*/ 60 h 71"/>
                  <a:gd name="T30" fmla="*/ 16 w 71"/>
                  <a:gd name="T31" fmla="*/ 65 h 71"/>
                  <a:gd name="T32" fmla="*/ 21 w 71"/>
                  <a:gd name="T33" fmla="*/ 68 h 71"/>
                  <a:gd name="T34" fmla="*/ 28 w 71"/>
                  <a:gd name="T35" fmla="*/ 71 h 71"/>
                  <a:gd name="T36" fmla="*/ 36 w 71"/>
                  <a:gd name="T37" fmla="*/ 71 h 71"/>
                  <a:gd name="T38" fmla="*/ 36 w 71"/>
                  <a:gd name="T39" fmla="*/ 71 h 71"/>
                  <a:gd name="T40" fmla="*/ 43 w 71"/>
                  <a:gd name="T41" fmla="*/ 71 h 71"/>
                  <a:gd name="T42" fmla="*/ 49 w 71"/>
                  <a:gd name="T43" fmla="*/ 68 h 71"/>
                  <a:gd name="T44" fmla="*/ 56 w 71"/>
                  <a:gd name="T45" fmla="*/ 65 h 71"/>
                  <a:gd name="T46" fmla="*/ 60 w 71"/>
                  <a:gd name="T47" fmla="*/ 60 h 71"/>
                  <a:gd name="T48" fmla="*/ 65 w 71"/>
                  <a:gd name="T49" fmla="*/ 55 h 71"/>
                  <a:gd name="T50" fmla="*/ 68 w 71"/>
                  <a:gd name="T51" fmla="*/ 49 h 71"/>
                  <a:gd name="T52" fmla="*/ 71 w 71"/>
                  <a:gd name="T53" fmla="*/ 43 h 71"/>
                  <a:gd name="T54" fmla="*/ 71 w 71"/>
                  <a:gd name="T55" fmla="*/ 34 h 71"/>
                  <a:gd name="T56" fmla="*/ 71 w 71"/>
                  <a:gd name="T57" fmla="*/ 34 h 71"/>
                  <a:gd name="T58" fmla="*/ 71 w 71"/>
                  <a:gd name="T59" fmla="*/ 28 h 71"/>
                  <a:gd name="T60" fmla="*/ 68 w 71"/>
                  <a:gd name="T61" fmla="*/ 21 h 71"/>
                  <a:gd name="T62" fmla="*/ 65 w 71"/>
                  <a:gd name="T63" fmla="*/ 16 h 71"/>
                  <a:gd name="T64" fmla="*/ 60 w 71"/>
                  <a:gd name="T65" fmla="*/ 10 h 71"/>
                  <a:gd name="T66" fmla="*/ 56 w 71"/>
                  <a:gd name="T67" fmla="*/ 5 h 71"/>
                  <a:gd name="T68" fmla="*/ 49 w 71"/>
                  <a:gd name="T69" fmla="*/ 2 h 71"/>
                  <a:gd name="T70" fmla="*/ 43 w 71"/>
                  <a:gd name="T71" fmla="*/ 0 h 71"/>
                  <a:gd name="T72" fmla="*/ 36 w 71"/>
                  <a:gd name="T73" fmla="*/ 0 h 71"/>
                  <a:gd name="T74" fmla="*/ 36 w 71"/>
                  <a:gd name="T75" fmla="*/ 0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1" h="71">
                    <a:moveTo>
                      <a:pt x="36" y="0"/>
                    </a:moveTo>
                    <a:lnTo>
                      <a:pt x="36" y="0"/>
                    </a:lnTo>
                    <a:lnTo>
                      <a:pt x="28" y="0"/>
                    </a:lnTo>
                    <a:lnTo>
                      <a:pt x="21" y="2"/>
                    </a:lnTo>
                    <a:lnTo>
                      <a:pt x="16" y="5"/>
                    </a:lnTo>
                    <a:lnTo>
                      <a:pt x="10" y="10"/>
                    </a:lnTo>
                    <a:lnTo>
                      <a:pt x="5" y="16"/>
                    </a:lnTo>
                    <a:lnTo>
                      <a:pt x="2" y="21"/>
                    </a:lnTo>
                    <a:lnTo>
                      <a:pt x="0" y="28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43"/>
                    </a:lnTo>
                    <a:lnTo>
                      <a:pt x="2" y="49"/>
                    </a:lnTo>
                    <a:lnTo>
                      <a:pt x="5" y="55"/>
                    </a:lnTo>
                    <a:lnTo>
                      <a:pt x="10" y="60"/>
                    </a:lnTo>
                    <a:lnTo>
                      <a:pt x="16" y="65"/>
                    </a:lnTo>
                    <a:lnTo>
                      <a:pt x="21" y="68"/>
                    </a:lnTo>
                    <a:lnTo>
                      <a:pt x="28" y="71"/>
                    </a:lnTo>
                    <a:lnTo>
                      <a:pt x="36" y="71"/>
                    </a:lnTo>
                    <a:lnTo>
                      <a:pt x="36" y="71"/>
                    </a:lnTo>
                    <a:lnTo>
                      <a:pt x="43" y="71"/>
                    </a:lnTo>
                    <a:lnTo>
                      <a:pt x="49" y="68"/>
                    </a:lnTo>
                    <a:lnTo>
                      <a:pt x="56" y="65"/>
                    </a:lnTo>
                    <a:lnTo>
                      <a:pt x="60" y="60"/>
                    </a:lnTo>
                    <a:lnTo>
                      <a:pt x="65" y="55"/>
                    </a:lnTo>
                    <a:lnTo>
                      <a:pt x="68" y="49"/>
                    </a:lnTo>
                    <a:lnTo>
                      <a:pt x="71" y="43"/>
                    </a:lnTo>
                    <a:lnTo>
                      <a:pt x="71" y="34"/>
                    </a:lnTo>
                    <a:lnTo>
                      <a:pt x="71" y="34"/>
                    </a:lnTo>
                    <a:lnTo>
                      <a:pt x="71" y="28"/>
                    </a:lnTo>
                    <a:lnTo>
                      <a:pt x="68" y="21"/>
                    </a:lnTo>
                    <a:lnTo>
                      <a:pt x="65" y="16"/>
                    </a:lnTo>
                    <a:lnTo>
                      <a:pt x="60" y="10"/>
                    </a:lnTo>
                    <a:lnTo>
                      <a:pt x="56" y="5"/>
                    </a:lnTo>
                    <a:lnTo>
                      <a:pt x="49" y="2"/>
                    </a:lnTo>
                    <a:lnTo>
                      <a:pt x="43" y="0"/>
                    </a:lnTo>
                    <a:lnTo>
                      <a:pt x="36" y="0"/>
                    </a:lnTo>
                    <a:lnTo>
                      <a:pt x="36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C5C5C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86" name="Freeform 329">
                <a:extLst>
                  <a:ext uri="{FF2B5EF4-FFF2-40B4-BE49-F238E27FC236}">
                    <a16:creationId xmlns:a16="http://schemas.microsoft.com/office/drawing/2014/main" id="{E2D77E4D-8D0D-4143-9D95-AC473A58A6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43513" y="6189663"/>
                <a:ext cx="58738" cy="55563"/>
              </a:xfrm>
              <a:custGeom>
                <a:avLst/>
                <a:gdLst>
                  <a:gd name="T0" fmla="*/ 36 w 72"/>
                  <a:gd name="T1" fmla="*/ 0 h 71"/>
                  <a:gd name="T2" fmla="*/ 36 w 72"/>
                  <a:gd name="T3" fmla="*/ 0 h 71"/>
                  <a:gd name="T4" fmla="*/ 29 w 72"/>
                  <a:gd name="T5" fmla="*/ 0 h 71"/>
                  <a:gd name="T6" fmla="*/ 23 w 72"/>
                  <a:gd name="T7" fmla="*/ 2 h 71"/>
                  <a:gd name="T8" fmla="*/ 16 w 72"/>
                  <a:gd name="T9" fmla="*/ 5 h 71"/>
                  <a:gd name="T10" fmla="*/ 11 w 72"/>
                  <a:gd name="T11" fmla="*/ 10 h 71"/>
                  <a:gd name="T12" fmla="*/ 6 w 72"/>
                  <a:gd name="T13" fmla="*/ 16 h 71"/>
                  <a:gd name="T14" fmla="*/ 4 w 72"/>
                  <a:gd name="T15" fmla="*/ 21 h 71"/>
                  <a:gd name="T16" fmla="*/ 1 w 72"/>
                  <a:gd name="T17" fmla="*/ 28 h 71"/>
                  <a:gd name="T18" fmla="*/ 0 w 72"/>
                  <a:gd name="T19" fmla="*/ 34 h 71"/>
                  <a:gd name="T20" fmla="*/ 0 w 72"/>
                  <a:gd name="T21" fmla="*/ 34 h 71"/>
                  <a:gd name="T22" fmla="*/ 1 w 72"/>
                  <a:gd name="T23" fmla="*/ 43 h 71"/>
                  <a:gd name="T24" fmla="*/ 4 w 72"/>
                  <a:gd name="T25" fmla="*/ 49 h 71"/>
                  <a:gd name="T26" fmla="*/ 6 w 72"/>
                  <a:gd name="T27" fmla="*/ 55 h 71"/>
                  <a:gd name="T28" fmla="*/ 11 w 72"/>
                  <a:gd name="T29" fmla="*/ 60 h 71"/>
                  <a:gd name="T30" fmla="*/ 16 w 72"/>
                  <a:gd name="T31" fmla="*/ 65 h 71"/>
                  <a:gd name="T32" fmla="*/ 23 w 72"/>
                  <a:gd name="T33" fmla="*/ 68 h 71"/>
                  <a:gd name="T34" fmla="*/ 29 w 72"/>
                  <a:gd name="T35" fmla="*/ 71 h 71"/>
                  <a:gd name="T36" fmla="*/ 36 w 72"/>
                  <a:gd name="T37" fmla="*/ 71 h 71"/>
                  <a:gd name="T38" fmla="*/ 36 w 72"/>
                  <a:gd name="T39" fmla="*/ 71 h 71"/>
                  <a:gd name="T40" fmla="*/ 44 w 72"/>
                  <a:gd name="T41" fmla="*/ 71 h 71"/>
                  <a:gd name="T42" fmla="*/ 51 w 72"/>
                  <a:gd name="T43" fmla="*/ 68 h 71"/>
                  <a:gd name="T44" fmla="*/ 56 w 72"/>
                  <a:gd name="T45" fmla="*/ 65 h 71"/>
                  <a:gd name="T46" fmla="*/ 62 w 72"/>
                  <a:gd name="T47" fmla="*/ 60 h 71"/>
                  <a:gd name="T48" fmla="*/ 66 w 72"/>
                  <a:gd name="T49" fmla="*/ 55 h 71"/>
                  <a:gd name="T50" fmla="*/ 70 w 72"/>
                  <a:gd name="T51" fmla="*/ 49 h 71"/>
                  <a:gd name="T52" fmla="*/ 71 w 72"/>
                  <a:gd name="T53" fmla="*/ 43 h 71"/>
                  <a:gd name="T54" fmla="*/ 72 w 72"/>
                  <a:gd name="T55" fmla="*/ 34 h 71"/>
                  <a:gd name="T56" fmla="*/ 72 w 72"/>
                  <a:gd name="T57" fmla="*/ 34 h 71"/>
                  <a:gd name="T58" fmla="*/ 71 w 72"/>
                  <a:gd name="T59" fmla="*/ 28 h 71"/>
                  <a:gd name="T60" fmla="*/ 70 w 72"/>
                  <a:gd name="T61" fmla="*/ 21 h 71"/>
                  <a:gd name="T62" fmla="*/ 66 w 72"/>
                  <a:gd name="T63" fmla="*/ 16 h 71"/>
                  <a:gd name="T64" fmla="*/ 62 w 72"/>
                  <a:gd name="T65" fmla="*/ 10 h 71"/>
                  <a:gd name="T66" fmla="*/ 56 w 72"/>
                  <a:gd name="T67" fmla="*/ 5 h 71"/>
                  <a:gd name="T68" fmla="*/ 51 w 72"/>
                  <a:gd name="T69" fmla="*/ 2 h 71"/>
                  <a:gd name="T70" fmla="*/ 44 w 72"/>
                  <a:gd name="T71" fmla="*/ 0 h 71"/>
                  <a:gd name="T72" fmla="*/ 36 w 72"/>
                  <a:gd name="T73" fmla="*/ 0 h 71"/>
                  <a:gd name="T74" fmla="*/ 36 w 72"/>
                  <a:gd name="T75" fmla="*/ 0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2" h="71">
                    <a:moveTo>
                      <a:pt x="36" y="0"/>
                    </a:moveTo>
                    <a:lnTo>
                      <a:pt x="36" y="0"/>
                    </a:lnTo>
                    <a:lnTo>
                      <a:pt x="29" y="0"/>
                    </a:lnTo>
                    <a:lnTo>
                      <a:pt x="23" y="2"/>
                    </a:lnTo>
                    <a:lnTo>
                      <a:pt x="16" y="5"/>
                    </a:lnTo>
                    <a:lnTo>
                      <a:pt x="11" y="10"/>
                    </a:lnTo>
                    <a:lnTo>
                      <a:pt x="6" y="16"/>
                    </a:lnTo>
                    <a:lnTo>
                      <a:pt x="4" y="21"/>
                    </a:lnTo>
                    <a:lnTo>
                      <a:pt x="1" y="28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1" y="43"/>
                    </a:lnTo>
                    <a:lnTo>
                      <a:pt x="4" y="49"/>
                    </a:lnTo>
                    <a:lnTo>
                      <a:pt x="6" y="55"/>
                    </a:lnTo>
                    <a:lnTo>
                      <a:pt x="11" y="60"/>
                    </a:lnTo>
                    <a:lnTo>
                      <a:pt x="16" y="65"/>
                    </a:lnTo>
                    <a:lnTo>
                      <a:pt x="23" y="68"/>
                    </a:lnTo>
                    <a:lnTo>
                      <a:pt x="29" y="71"/>
                    </a:lnTo>
                    <a:lnTo>
                      <a:pt x="36" y="71"/>
                    </a:lnTo>
                    <a:lnTo>
                      <a:pt x="36" y="71"/>
                    </a:lnTo>
                    <a:lnTo>
                      <a:pt x="44" y="71"/>
                    </a:lnTo>
                    <a:lnTo>
                      <a:pt x="51" y="68"/>
                    </a:lnTo>
                    <a:lnTo>
                      <a:pt x="56" y="65"/>
                    </a:lnTo>
                    <a:lnTo>
                      <a:pt x="62" y="60"/>
                    </a:lnTo>
                    <a:lnTo>
                      <a:pt x="66" y="55"/>
                    </a:lnTo>
                    <a:lnTo>
                      <a:pt x="70" y="49"/>
                    </a:lnTo>
                    <a:lnTo>
                      <a:pt x="71" y="43"/>
                    </a:lnTo>
                    <a:lnTo>
                      <a:pt x="72" y="34"/>
                    </a:lnTo>
                    <a:lnTo>
                      <a:pt x="72" y="34"/>
                    </a:lnTo>
                    <a:lnTo>
                      <a:pt x="71" y="28"/>
                    </a:lnTo>
                    <a:lnTo>
                      <a:pt x="70" y="21"/>
                    </a:lnTo>
                    <a:lnTo>
                      <a:pt x="66" y="16"/>
                    </a:lnTo>
                    <a:lnTo>
                      <a:pt x="62" y="10"/>
                    </a:lnTo>
                    <a:lnTo>
                      <a:pt x="56" y="5"/>
                    </a:lnTo>
                    <a:lnTo>
                      <a:pt x="51" y="2"/>
                    </a:lnTo>
                    <a:lnTo>
                      <a:pt x="44" y="0"/>
                    </a:lnTo>
                    <a:lnTo>
                      <a:pt x="36" y="0"/>
                    </a:lnTo>
                    <a:lnTo>
                      <a:pt x="36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C5C5C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87" name="Freeform 330">
                <a:extLst>
                  <a:ext uri="{FF2B5EF4-FFF2-40B4-BE49-F238E27FC236}">
                    <a16:creationId xmlns:a16="http://schemas.microsoft.com/office/drawing/2014/main" id="{8822C16A-92DA-4DBA-BB4D-F35799CC26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0951" y="5997575"/>
                <a:ext cx="247650" cy="176213"/>
              </a:xfrm>
              <a:custGeom>
                <a:avLst/>
                <a:gdLst>
                  <a:gd name="T0" fmla="*/ 307 w 311"/>
                  <a:gd name="T1" fmla="*/ 63 h 223"/>
                  <a:gd name="T2" fmla="*/ 307 w 311"/>
                  <a:gd name="T3" fmla="*/ 63 h 223"/>
                  <a:gd name="T4" fmla="*/ 303 w 311"/>
                  <a:gd name="T5" fmla="*/ 59 h 223"/>
                  <a:gd name="T6" fmla="*/ 297 w 311"/>
                  <a:gd name="T7" fmla="*/ 58 h 223"/>
                  <a:gd name="T8" fmla="*/ 111 w 311"/>
                  <a:gd name="T9" fmla="*/ 58 h 223"/>
                  <a:gd name="T10" fmla="*/ 111 w 311"/>
                  <a:gd name="T11" fmla="*/ 58 h 223"/>
                  <a:gd name="T12" fmla="*/ 106 w 311"/>
                  <a:gd name="T13" fmla="*/ 59 h 223"/>
                  <a:gd name="T14" fmla="*/ 100 w 311"/>
                  <a:gd name="T15" fmla="*/ 62 h 223"/>
                  <a:gd name="T16" fmla="*/ 98 w 311"/>
                  <a:gd name="T17" fmla="*/ 67 h 223"/>
                  <a:gd name="T18" fmla="*/ 96 w 311"/>
                  <a:gd name="T19" fmla="*/ 72 h 223"/>
                  <a:gd name="T20" fmla="*/ 96 w 311"/>
                  <a:gd name="T21" fmla="*/ 72 h 223"/>
                  <a:gd name="T22" fmla="*/ 98 w 311"/>
                  <a:gd name="T23" fmla="*/ 78 h 223"/>
                  <a:gd name="T24" fmla="*/ 100 w 311"/>
                  <a:gd name="T25" fmla="*/ 82 h 223"/>
                  <a:gd name="T26" fmla="*/ 106 w 311"/>
                  <a:gd name="T27" fmla="*/ 86 h 223"/>
                  <a:gd name="T28" fmla="*/ 111 w 311"/>
                  <a:gd name="T29" fmla="*/ 86 h 223"/>
                  <a:gd name="T30" fmla="*/ 279 w 311"/>
                  <a:gd name="T31" fmla="*/ 86 h 223"/>
                  <a:gd name="T32" fmla="*/ 256 w 311"/>
                  <a:gd name="T33" fmla="*/ 195 h 223"/>
                  <a:gd name="T34" fmla="*/ 103 w 311"/>
                  <a:gd name="T35" fmla="*/ 195 h 223"/>
                  <a:gd name="T36" fmla="*/ 67 w 311"/>
                  <a:gd name="T37" fmla="*/ 11 h 223"/>
                  <a:gd name="T38" fmla="*/ 67 w 311"/>
                  <a:gd name="T39" fmla="*/ 11 h 223"/>
                  <a:gd name="T40" fmla="*/ 64 w 311"/>
                  <a:gd name="T41" fmla="*/ 7 h 223"/>
                  <a:gd name="T42" fmla="*/ 62 w 311"/>
                  <a:gd name="T43" fmla="*/ 2 h 223"/>
                  <a:gd name="T44" fmla="*/ 58 w 311"/>
                  <a:gd name="T45" fmla="*/ 0 h 223"/>
                  <a:gd name="T46" fmla="*/ 52 w 311"/>
                  <a:gd name="T47" fmla="*/ 0 h 223"/>
                  <a:gd name="T48" fmla="*/ 13 w 311"/>
                  <a:gd name="T49" fmla="*/ 0 h 223"/>
                  <a:gd name="T50" fmla="*/ 13 w 311"/>
                  <a:gd name="T51" fmla="*/ 0 h 223"/>
                  <a:gd name="T52" fmla="*/ 8 w 311"/>
                  <a:gd name="T53" fmla="*/ 0 h 223"/>
                  <a:gd name="T54" fmla="*/ 4 w 311"/>
                  <a:gd name="T55" fmla="*/ 4 h 223"/>
                  <a:gd name="T56" fmla="*/ 0 w 311"/>
                  <a:gd name="T57" fmla="*/ 8 h 223"/>
                  <a:gd name="T58" fmla="*/ 0 w 311"/>
                  <a:gd name="T59" fmla="*/ 13 h 223"/>
                  <a:gd name="T60" fmla="*/ 0 w 311"/>
                  <a:gd name="T61" fmla="*/ 13 h 223"/>
                  <a:gd name="T62" fmla="*/ 0 w 311"/>
                  <a:gd name="T63" fmla="*/ 19 h 223"/>
                  <a:gd name="T64" fmla="*/ 4 w 311"/>
                  <a:gd name="T65" fmla="*/ 24 h 223"/>
                  <a:gd name="T66" fmla="*/ 8 w 311"/>
                  <a:gd name="T67" fmla="*/ 27 h 223"/>
                  <a:gd name="T68" fmla="*/ 13 w 311"/>
                  <a:gd name="T69" fmla="*/ 28 h 223"/>
                  <a:gd name="T70" fmla="*/ 41 w 311"/>
                  <a:gd name="T71" fmla="*/ 28 h 223"/>
                  <a:gd name="T72" fmla="*/ 78 w 311"/>
                  <a:gd name="T73" fmla="*/ 212 h 223"/>
                  <a:gd name="T74" fmla="*/ 78 w 311"/>
                  <a:gd name="T75" fmla="*/ 212 h 223"/>
                  <a:gd name="T76" fmla="*/ 79 w 311"/>
                  <a:gd name="T77" fmla="*/ 216 h 223"/>
                  <a:gd name="T78" fmla="*/ 83 w 311"/>
                  <a:gd name="T79" fmla="*/ 220 h 223"/>
                  <a:gd name="T80" fmla="*/ 87 w 311"/>
                  <a:gd name="T81" fmla="*/ 223 h 223"/>
                  <a:gd name="T82" fmla="*/ 91 w 311"/>
                  <a:gd name="T83" fmla="*/ 223 h 223"/>
                  <a:gd name="T84" fmla="*/ 267 w 311"/>
                  <a:gd name="T85" fmla="*/ 223 h 223"/>
                  <a:gd name="T86" fmla="*/ 267 w 311"/>
                  <a:gd name="T87" fmla="*/ 223 h 223"/>
                  <a:gd name="T88" fmla="*/ 272 w 311"/>
                  <a:gd name="T89" fmla="*/ 223 h 223"/>
                  <a:gd name="T90" fmla="*/ 276 w 311"/>
                  <a:gd name="T91" fmla="*/ 220 h 223"/>
                  <a:gd name="T92" fmla="*/ 279 w 311"/>
                  <a:gd name="T93" fmla="*/ 216 h 223"/>
                  <a:gd name="T94" fmla="*/ 282 w 311"/>
                  <a:gd name="T95" fmla="*/ 212 h 223"/>
                  <a:gd name="T96" fmla="*/ 310 w 311"/>
                  <a:gd name="T97" fmla="*/ 75 h 223"/>
                  <a:gd name="T98" fmla="*/ 310 w 311"/>
                  <a:gd name="T99" fmla="*/ 75 h 223"/>
                  <a:gd name="T100" fmla="*/ 311 w 311"/>
                  <a:gd name="T101" fmla="*/ 72 h 223"/>
                  <a:gd name="T102" fmla="*/ 310 w 311"/>
                  <a:gd name="T103" fmla="*/ 70 h 223"/>
                  <a:gd name="T104" fmla="*/ 310 w 311"/>
                  <a:gd name="T105" fmla="*/ 66 h 223"/>
                  <a:gd name="T106" fmla="*/ 307 w 311"/>
                  <a:gd name="T107" fmla="*/ 63 h 223"/>
                  <a:gd name="T108" fmla="*/ 307 w 311"/>
                  <a:gd name="T109" fmla="*/ 63 h 2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311" h="223">
                    <a:moveTo>
                      <a:pt x="307" y="63"/>
                    </a:moveTo>
                    <a:lnTo>
                      <a:pt x="307" y="63"/>
                    </a:lnTo>
                    <a:lnTo>
                      <a:pt x="303" y="59"/>
                    </a:lnTo>
                    <a:lnTo>
                      <a:pt x="297" y="58"/>
                    </a:lnTo>
                    <a:lnTo>
                      <a:pt x="111" y="58"/>
                    </a:lnTo>
                    <a:lnTo>
                      <a:pt x="111" y="58"/>
                    </a:lnTo>
                    <a:lnTo>
                      <a:pt x="106" y="59"/>
                    </a:lnTo>
                    <a:lnTo>
                      <a:pt x="100" y="62"/>
                    </a:lnTo>
                    <a:lnTo>
                      <a:pt x="98" y="67"/>
                    </a:lnTo>
                    <a:lnTo>
                      <a:pt x="96" y="72"/>
                    </a:lnTo>
                    <a:lnTo>
                      <a:pt x="96" y="72"/>
                    </a:lnTo>
                    <a:lnTo>
                      <a:pt x="98" y="78"/>
                    </a:lnTo>
                    <a:lnTo>
                      <a:pt x="100" y="82"/>
                    </a:lnTo>
                    <a:lnTo>
                      <a:pt x="106" y="86"/>
                    </a:lnTo>
                    <a:lnTo>
                      <a:pt x="111" y="86"/>
                    </a:lnTo>
                    <a:lnTo>
                      <a:pt x="279" y="86"/>
                    </a:lnTo>
                    <a:lnTo>
                      <a:pt x="256" y="195"/>
                    </a:lnTo>
                    <a:lnTo>
                      <a:pt x="103" y="195"/>
                    </a:lnTo>
                    <a:lnTo>
                      <a:pt x="67" y="11"/>
                    </a:lnTo>
                    <a:lnTo>
                      <a:pt x="67" y="11"/>
                    </a:lnTo>
                    <a:lnTo>
                      <a:pt x="64" y="7"/>
                    </a:lnTo>
                    <a:lnTo>
                      <a:pt x="62" y="2"/>
                    </a:lnTo>
                    <a:lnTo>
                      <a:pt x="58" y="0"/>
                    </a:lnTo>
                    <a:lnTo>
                      <a:pt x="52" y="0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0" y="8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9"/>
                    </a:lnTo>
                    <a:lnTo>
                      <a:pt x="4" y="24"/>
                    </a:lnTo>
                    <a:lnTo>
                      <a:pt x="8" y="27"/>
                    </a:lnTo>
                    <a:lnTo>
                      <a:pt x="13" y="28"/>
                    </a:lnTo>
                    <a:lnTo>
                      <a:pt x="41" y="28"/>
                    </a:lnTo>
                    <a:lnTo>
                      <a:pt x="78" y="212"/>
                    </a:lnTo>
                    <a:lnTo>
                      <a:pt x="78" y="212"/>
                    </a:lnTo>
                    <a:lnTo>
                      <a:pt x="79" y="216"/>
                    </a:lnTo>
                    <a:lnTo>
                      <a:pt x="83" y="220"/>
                    </a:lnTo>
                    <a:lnTo>
                      <a:pt x="87" y="223"/>
                    </a:lnTo>
                    <a:lnTo>
                      <a:pt x="91" y="223"/>
                    </a:lnTo>
                    <a:lnTo>
                      <a:pt x="267" y="223"/>
                    </a:lnTo>
                    <a:lnTo>
                      <a:pt x="267" y="223"/>
                    </a:lnTo>
                    <a:lnTo>
                      <a:pt x="272" y="223"/>
                    </a:lnTo>
                    <a:lnTo>
                      <a:pt x="276" y="220"/>
                    </a:lnTo>
                    <a:lnTo>
                      <a:pt x="279" y="216"/>
                    </a:lnTo>
                    <a:lnTo>
                      <a:pt x="282" y="212"/>
                    </a:lnTo>
                    <a:lnTo>
                      <a:pt x="310" y="75"/>
                    </a:lnTo>
                    <a:lnTo>
                      <a:pt x="310" y="75"/>
                    </a:lnTo>
                    <a:lnTo>
                      <a:pt x="311" y="72"/>
                    </a:lnTo>
                    <a:lnTo>
                      <a:pt x="310" y="70"/>
                    </a:lnTo>
                    <a:lnTo>
                      <a:pt x="310" y="66"/>
                    </a:lnTo>
                    <a:lnTo>
                      <a:pt x="307" y="63"/>
                    </a:lnTo>
                    <a:lnTo>
                      <a:pt x="307" y="6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C5C5C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</p:grpSp>
      </p:grpSp>
      <p:sp>
        <p:nvSpPr>
          <p:cNvPr id="18" name="object 65">
            <a:extLst>
              <a:ext uri="{FF2B5EF4-FFF2-40B4-BE49-F238E27FC236}">
                <a16:creationId xmlns:a16="http://schemas.microsoft.com/office/drawing/2014/main" id="{5330D4AD-DCBC-474A-9AF8-2DF87ACB9A34}"/>
              </a:ext>
            </a:extLst>
          </p:cNvPr>
          <p:cNvSpPr/>
          <p:nvPr/>
        </p:nvSpPr>
        <p:spPr>
          <a:xfrm rot="3531892" flipV="1">
            <a:off x="4459691" y="3352793"/>
            <a:ext cx="869192" cy="96676"/>
          </a:xfrm>
          <a:custGeom>
            <a:avLst/>
            <a:gdLst/>
            <a:ahLst/>
            <a:cxnLst/>
            <a:rect l="l" t="t" r="r" b="b"/>
            <a:pathLst>
              <a:path w="1685289" h="352425">
                <a:moveTo>
                  <a:pt x="1621144" y="306764"/>
                </a:moveTo>
                <a:lnTo>
                  <a:pt x="1602486" y="327913"/>
                </a:lnTo>
                <a:lnTo>
                  <a:pt x="1684782" y="349758"/>
                </a:lnTo>
                <a:lnTo>
                  <a:pt x="1670790" y="315087"/>
                </a:lnTo>
                <a:lnTo>
                  <a:pt x="1631188" y="315087"/>
                </a:lnTo>
                <a:lnTo>
                  <a:pt x="1621144" y="306764"/>
                </a:lnTo>
                <a:close/>
              </a:path>
              <a:path w="1685289" h="352425">
                <a:moveTo>
                  <a:pt x="1633736" y="292491"/>
                </a:moveTo>
                <a:lnTo>
                  <a:pt x="1621144" y="306764"/>
                </a:lnTo>
                <a:lnTo>
                  <a:pt x="1631188" y="315087"/>
                </a:lnTo>
                <a:lnTo>
                  <a:pt x="1643380" y="300482"/>
                </a:lnTo>
                <a:lnTo>
                  <a:pt x="1633736" y="292491"/>
                </a:lnTo>
                <a:close/>
              </a:path>
              <a:path w="1685289" h="352425">
                <a:moveTo>
                  <a:pt x="1652905" y="270763"/>
                </a:moveTo>
                <a:lnTo>
                  <a:pt x="1633736" y="292491"/>
                </a:lnTo>
                <a:lnTo>
                  <a:pt x="1643380" y="300482"/>
                </a:lnTo>
                <a:lnTo>
                  <a:pt x="1631188" y="315087"/>
                </a:lnTo>
                <a:lnTo>
                  <a:pt x="1670790" y="315087"/>
                </a:lnTo>
                <a:lnTo>
                  <a:pt x="1652905" y="270763"/>
                </a:lnTo>
                <a:close/>
              </a:path>
              <a:path w="1685289" h="352425">
                <a:moveTo>
                  <a:pt x="1583689" y="252222"/>
                </a:moveTo>
                <a:lnTo>
                  <a:pt x="1572387" y="267588"/>
                </a:lnTo>
                <a:lnTo>
                  <a:pt x="1585976" y="277622"/>
                </a:lnTo>
                <a:lnTo>
                  <a:pt x="1621144" y="306764"/>
                </a:lnTo>
                <a:lnTo>
                  <a:pt x="1633736" y="292491"/>
                </a:lnTo>
                <a:lnTo>
                  <a:pt x="1598168" y="263017"/>
                </a:lnTo>
                <a:lnTo>
                  <a:pt x="1583689" y="252222"/>
                </a:lnTo>
                <a:close/>
              </a:path>
              <a:path w="1685289" h="352425">
                <a:moveTo>
                  <a:pt x="1472311" y="177292"/>
                </a:moveTo>
                <a:lnTo>
                  <a:pt x="1462532" y="193675"/>
                </a:lnTo>
                <a:lnTo>
                  <a:pt x="1488567" y="209296"/>
                </a:lnTo>
                <a:lnTo>
                  <a:pt x="1526286" y="234442"/>
                </a:lnTo>
                <a:lnTo>
                  <a:pt x="1536954" y="218694"/>
                </a:lnTo>
                <a:lnTo>
                  <a:pt x="1499108" y="193421"/>
                </a:lnTo>
                <a:lnTo>
                  <a:pt x="1472311" y="177292"/>
                </a:lnTo>
                <a:close/>
              </a:path>
              <a:path w="1685289" h="352425">
                <a:moveTo>
                  <a:pt x="1353693" y="114553"/>
                </a:moveTo>
                <a:lnTo>
                  <a:pt x="1345564" y="131825"/>
                </a:lnTo>
                <a:lnTo>
                  <a:pt x="1386586" y="151384"/>
                </a:lnTo>
                <a:lnTo>
                  <a:pt x="1413256" y="165608"/>
                </a:lnTo>
                <a:lnTo>
                  <a:pt x="1422273" y="148844"/>
                </a:lnTo>
                <a:lnTo>
                  <a:pt x="1395602" y="134493"/>
                </a:lnTo>
                <a:lnTo>
                  <a:pt x="1353693" y="114553"/>
                </a:lnTo>
                <a:close/>
              </a:path>
              <a:path w="1685289" h="352425">
                <a:moveTo>
                  <a:pt x="1228725" y="64770"/>
                </a:moveTo>
                <a:lnTo>
                  <a:pt x="1223010" y="82931"/>
                </a:lnTo>
                <a:lnTo>
                  <a:pt x="1226820" y="84200"/>
                </a:lnTo>
                <a:lnTo>
                  <a:pt x="1280922" y="103886"/>
                </a:lnTo>
                <a:lnTo>
                  <a:pt x="1293495" y="109220"/>
                </a:lnTo>
                <a:lnTo>
                  <a:pt x="1300861" y="91694"/>
                </a:lnTo>
                <a:lnTo>
                  <a:pt x="1288288" y="86360"/>
                </a:lnTo>
                <a:lnTo>
                  <a:pt x="1233424" y="66294"/>
                </a:lnTo>
                <a:lnTo>
                  <a:pt x="1228725" y="64770"/>
                </a:lnTo>
                <a:close/>
              </a:path>
              <a:path w="1685289" h="352425">
                <a:moveTo>
                  <a:pt x="1099312" y="29210"/>
                </a:moveTo>
                <a:lnTo>
                  <a:pt x="1095375" y="47751"/>
                </a:lnTo>
                <a:lnTo>
                  <a:pt x="1116965" y="52450"/>
                </a:lnTo>
                <a:lnTo>
                  <a:pt x="1168781" y="66039"/>
                </a:lnTo>
                <a:lnTo>
                  <a:pt x="1173734" y="47625"/>
                </a:lnTo>
                <a:lnTo>
                  <a:pt x="1121918" y="34036"/>
                </a:lnTo>
                <a:lnTo>
                  <a:pt x="1099312" y="29210"/>
                </a:lnTo>
                <a:close/>
              </a:path>
              <a:path w="1685289" h="352425">
                <a:moveTo>
                  <a:pt x="966978" y="7365"/>
                </a:moveTo>
                <a:lnTo>
                  <a:pt x="964692" y="26288"/>
                </a:lnTo>
                <a:lnTo>
                  <a:pt x="1005459" y="31114"/>
                </a:lnTo>
                <a:lnTo>
                  <a:pt x="1039749" y="36957"/>
                </a:lnTo>
                <a:lnTo>
                  <a:pt x="1042797" y="18161"/>
                </a:lnTo>
                <a:lnTo>
                  <a:pt x="1008634" y="12446"/>
                </a:lnTo>
                <a:lnTo>
                  <a:pt x="966978" y="7365"/>
                </a:lnTo>
                <a:close/>
              </a:path>
              <a:path w="1685289" h="352425">
                <a:moveTo>
                  <a:pt x="837057" y="0"/>
                </a:moveTo>
                <a:lnTo>
                  <a:pt x="832612" y="0"/>
                </a:lnTo>
                <a:lnTo>
                  <a:pt x="832993" y="19050"/>
                </a:lnTo>
                <a:lnTo>
                  <a:pt x="836549" y="19050"/>
                </a:lnTo>
                <a:lnTo>
                  <a:pt x="892937" y="20447"/>
                </a:lnTo>
                <a:lnTo>
                  <a:pt x="908177" y="21462"/>
                </a:lnTo>
                <a:lnTo>
                  <a:pt x="909574" y="2539"/>
                </a:lnTo>
                <a:lnTo>
                  <a:pt x="894334" y="1397"/>
                </a:lnTo>
                <a:lnTo>
                  <a:pt x="837057" y="0"/>
                </a:lnTo>
                <a:close/>
              </a:path>
              <a:path w="1685289" h="352425">
                <a:moveTo>
                  <a:pt x="774954" y="1397"/>
                </a:moveTo>
                <a:lnTo>
                  <a:pt x="722884" y="4952"/>
                </a:lnTo>
                <a:lnTo>
                  <a:pt x="698627" y="7747"/>
                </a:lnTo>
                <a:lnTo>
                  <a:pt x="700786" y="26670"/>
                </a:lnTo>
                <a:lnTo>
                  <a:pt x="724281" y="24002"/>
                </a:lnTo>
                <a:lnTo>
                  <a:pt x="776224" y="20447"/>
                </a:lnTo>
                <a:lnTo>
                  <a:pt x="774954" y="1397"/>
                </a:lnTo>
                <a:close/>
              </a:path>
              <a:path w="1685289" h="352425">
                <a:moveTo>
                  <a:pt x="641604" y="15494"/>
                </a:moveTo>
                <a:lnTo>
                  <a:pt x="609854" y="20574"/>
                </a:lnTo>
                <a:lnTo>
                  <a:pt x="566293" y="29845"/>
                </a:lnTo>
                <a:lnTo>
                  <a:pt x="570230" y="48513"/>
                </a:lnTo>
                <a:lnTo>
                  <a:pt x="612902" y="39370"/>
                </a:lnTo>
                <a:lnTo>
                  <a:pt x="644652" y="34289"/>
                </a:lnTo>
                <a:lnTo>
                  <a:pt x="641604" y="15494"/>
                </a:lnTo>
                <a:close/>
              </a:path>
              <a:path w="1685289" h="352425">
                <a:moveTo>
                  <a:pt x="510413" y="43814"/>
                </a:moveTo>
                <a:lnTo>
                  <a:pt x="498602" y="46989"/>
                </a:lnTo>
                <a:lnTo>
                  <a:pt x="443992" y="64135"/>
                </a:lnTo>
                <a:lnTo>
                  <a:pt x="436753" y="66801"/>
                </a:lnTo>
                <a:lnTo>
                  <a:pt x="443357" y="84709"/>
                </a:lnTo>
                <a:lnTo>
                  <a:pt x="449707" y="82296"/>
                </a:lnTo>
                <a:lnTo>
                  <a:pt x="503555" y="65405"/>
                </a:lnTo>
                <a:lnTo>
                  <a:pt x="515239" y="62357"/>
                </a:lnTo>
                <a:lnTo>
                  <a:pt x="510413" y="43814"/>
                </a:lnTo>
                <a:close/>
              </a:path>
              <a:path w="1685289" h="352425">
                <a:moveTo>
                  <a:pt x="382905" y="86995"/>
                </a:moveTo>
                <a:lnTo>
                  <a:pt x="337185" y="106425"/>
                </a:lnTo>
                <a:lnTo>
                  <a:pt x="312928" y="118237"/>
                </a:lnTo>
                <a:lnTo>
                  <a:pt x="321183" y="135382"/>
                </a:lnTo>
                <a:lnTo>
                  <a:pt x="344678" y="123951"/>
                </a:lnTo>
                <a:lnTo>
                  <a:pt x="390398" y="104521"/>
                </a:lnTo>
                <a:lnTo>
                  <a:pt x="382905" y="86995"/>
                </a:lnTo>
                <a:close/>
              </a:path>
              <a:path w="1685289" h="352425">
                <a:moveTo>
                  <a:pt x="261620" y="144525"/>
                </a:moveTo>
                <a:lnTo>
                  <a:pt x="234442" y="159385"/>
                </a:lnTo>
                <a:lnTo>
                  <a:pt x="195580" y="183387"/>
                </a:lnTo>
                <a:lnTo>
                  <a:pt x="205486" y="199517"/>
                </a:lnTo>
                <a:lnTo>
                  <a:pt x="243586" y="176149"/>
                </a:lnTo>
                <a:lnTo>
                  <a:pt x="270764" y="161289"/>
                </a:lnTo>
                <a:lnTo>
                  <a:pt x="261620" y="144525"/>
                </a:lnTo>
                <a:close/>
              </a:path>
              <a:path w="1685289" h="352425">
                <a:moveTo>
                  <a:pt x="147574" y="215392"/>
                </a:moveTo>
                <a:lnTo>
                  <a:pt x="136398" y="223138"/>
                </a:lnTo>
                <a:lnTo>
                  <a:pt x="89408" y="258952"/>
                </a:lnTo>
                <a:lnTo>
                  <a:pt x="85979" y="261747"/>
                </a:lnTo>
                <a:lnTo>
                  <a:pt x="98298" y="276225"/>
                </a:lnTo>
                <a:lnTo>
                  <a:pt x="100837" y="274065"/>
                </a:lnTo>
                <a:lnTo>
                  <a:pt x="147193" y="238760"/>
                </a:lnTo>
                <a:lnTo>
                  <a:pt x="158369" y="231139"/>
                </a:lnTo>
                <a:lnTo>
                  <a:pt x="147574" y="215392"/>
                </a:lnTo>
                <a:close/>
              </a:path>
              <a:path w="1685289" h="352425">
                <a:moveTo>
                  <a:pt x="42037" y="299085"/>
                </a:moveTo>
                <a:lnTo>
                  <a:pt x="0" y="338582"/>
                </a:lnTo>
                <a:lnTo>
                  <a:pt x="13081" y="352425"/>
                </a:lnTo>
                <a:lnTo>
                  <a:pt x="55118" y="313055"/>
                </a:lnTo>
                <a:lnTo>
                  <a:pt x="42037" y="299085"/>
                </a:lnTo>
                <a:close/>
              </a:path>
            </a:pathLst>
          </a:custGeom>
          <a:solidFill>
            <a:srgbClr val="A6A6A6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9" name="object 21">
            <a:extLst>
              <a:ext uri="{FF2B5EF4-FFF2-40B4-BE49-F238E27FC236}">
                <a16:creationId xmlns:a16="http://schemas.microsoft.com/office/drawing/2014/main" id="{0CCD1469-E680-414E-B7C4-30341926281B}"/>
              </a:ext>
            </a:extLst>
          </p:cNvPr>
          <p:cNvSpPr txBox="1"/>
          <p:nvPr/>
        </p:nvSpPr>
        <p:spPr>
          <a:xfrm>
            <a:off x="5075847" y="4469120"/>
            <a:ext cx="1220312" cy="11863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lvl="0" indent="635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-1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Behandler</a:t>
            </a:r>
            <a:r>
              <a:rPr kumimoji="0" lang="en-US" sz="900" b="0" i="0" u="none" strike="noStrike" kern="1200" cap="none" spc="-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 </a:t>
            </a:r>
            <a:r>
              <a:rPr kumimoji="0" lang="en-US" sz="900" b="0" i="0" u="none" strike="noStrike" kern="1200" cap="none" spc="-1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innkjøpsordre</a:t>
            </a:r>
            <a:endParaRPr kumimoji="0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Verdana"/>
            </a:endParaRPr>
          </a:p>
        </p:txBody>
      </p:sp>
      <p:sp>
        <p:nvSpPr>
          <p:cNvPr id="20" name="object 56">
            <a:extLst>
              <a:ext uri="{FF2B5EF4-FFF2-40B4-BE49-F238E27FC236}">
                <a16:creationId xmlns:a16="http://schemas.microsoft.com/office/drawing/2014/main" id="{A8BF1728-D979-4022-9953-3DCECA5890E2}"/>
              </a:ext>
            </a:extLst>
          </p:cNvPr>
          <p:cNvSpPr txBox="1"/>
          <p:nvPr/>
        </p:nvSpPr>
        <p:spPr>
          <a:xfrm>
            <a:off x="5902459" y="3097870"/>
            <a:ext cx="1521354" cy="12906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-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Vare/tjeneste leveres</a:t>
            </a:r>
            <a:endParaRPr kumimoji="0" lang="en-US" sz="900" b="0" i="0" u="none" strike="noStrike" kern="1200" cap="none" spc="-5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Verdana"/>
            </a:endParaRPr>
          </a:p>
        </p:txBody>
      </p:sp>
      <p:sp>
        <p:nvSpPr>
          <p:cNvPr id="21" name="object 75">
            <a:extLst>
              <a:ext uri="{FF2B5EF4-FFF2-40B4-BE49-F238E27FC236}">
                <a16:creationId xmlns:a16="http://schemas.microsoft.com/office/drawing/2014/main" id="{7FA1C302-102A-47F5-A390-1C7BCA78D7A6}"/>
              </a:ext>
            </a:extLst>
          </p:cNvPr>
          <p:cNvSpPr/>
          <p:nvPr/>
        </p:nvSpPr>
        <p:spPr>
          <a:xfrm>
            <a:off x="6127176" y="2344028"/>
            <a:ext cx="524065" cy="328112"/>
          </a:xfrm>
          <a:prstGeom prst="rect">
            <a:avLst/>
          </a:prstGeom>
          <a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557571D0-E209-4FB6-9821-F5965D88C7C9}"/>
              </a:ext>
            </a:extLst>
          </p:cNvPr>
          <p:cNvGrpSpPr/>
          <p:nvPr/>
        </p:nvGrpSpPr>
        <p:grpSpPr>
          <a:xfrm>
            <a:off x="289779" y="1863840"/>
            <a:ext cx="1020570" cy="1115593"/>
            <a:chOff x="3467100" y="1822705"/>
            <a:chExt cx="1417446" cy="1481454"/>
          </a:xfrm>
        </p:grpSpPr>
        <p:sp>
          <p:nvSpPr>
            <p:cNvPr id="77" name="object 17">
              <a:extLst>
                <a:ext uri="{FF2B5EF4-FFF2-40B4-BE49-F238E27FC236}">
                  <a16:creationId xmlns:a16="http://schemas.microsoft.com/office/drawing/2014/main" id="{B1DC2C77-3C68-4583-8E00-120A29684A5A}"/>
                </a:ext>
              </a:extLst>
            </p:cNvPr>
            <p:cNvSpPr/>
            <p:nvPr/>
          </p:nvSpPr>
          <p:spPr>
            <a:xfrm>
              <a:off x="3550284" y="1898904"/>
              <a:ext cx="1259840" cy="1405255"/>
            </a:xfrm>
            <a:custGeom>
              <a:avLst/>
              <a:gdLst/>
              <a:ahLst/>
              <a:cxnLst/>
              <a:rect l="l" t="t" r="r" b="b"/>
              <a:pathLst>
                <a:path w="1259839" h="1405254">
                  <a:moveTo>
                    <a:pt x="556132" y="0"/>
                  </a:moveTo>
                  <a:lnTo>
                    <a:pt x="604293" y="1620"/>
                  </a:lnTo>
                  <a:lnTo>
                    <a:pt x="651582" y="6414"/>
                  </a:lnTo>
                  <a:lnTo>
                    <a:pt x="697894" y="14274"/>
                  </a:lnTo>
                  <a:lnTo>
                    <a:pt x="743124" y="25098"/>
                  </a:lnTo>
                  <a:lnTo>
                    <a:pt x="787169" y="38780"/>
                  </a:lnTo>
                  <a:lnTo>
                    <a:pt x="829923" y="55215"/>
                  </a:lnTo>
                  <a:lnTo>
                    <a:pt x="871281" y="74299"/>
                  </a:lnTo>
                  <a:lnTo>
                    <a:pt x="911140" y="95927"/>
                  </a:lnTo>
                  <a:lnTo>
                    <a:pt x="949394" y="119994"/>
                  </a:lnTo>
                  <a:lnTo>
                    <a:pt x="985938" y="146397"/>
                  </a:lnTo>
                  <a:lnTo>
                    <a:pt x="1020669" y="175029"/>
                  </a:lnTo>
                  <a:lnTo>
                    <a:pt x="1053480" y="205787"/>
                  </a:lnTo>
                  <a:lnTo>
                    <a:pt x="1084269" y="238566"/>
                  </a:lnTo>
                  <a:lnTo>
                    <a:pt x="1112929" y="273261"/>
                  </a:lnTo>
                  <a:lnTo>
                    <a:pt x="1139356" y="309767"/>
                  </a:lnTo>
                  <a:lnTo>
                    <a:pt x="1163447" y="347980"/>
                  </a:lnTo>
                  <a:lnTo>
                    <a:pt x="1185094" y="387794"/>
                  </a:lnTo>
                  <a:lnTo>
                    <a:pt x="1204196" y="429107"/>
                  </a:lnTo>
                  <a:lnTo>
                    <a:pt x="1220645" y="471812"/>
                  </a:lnTo>
                  <a:lnTo>
                    <a:pt x="1234339" y="515805"/>
                  </a:lnTo>
                  <a:lnTo>
                    <a:pt x="1245172" y="560981"/>
                  </a:lnTo>
                  <a:lnTo>
                    <a:pt x="1253039" y="607236"/>
                  </a:lnTo>
                  <a:lnTo>
                    <a:pt x="1257836" y="654465"/>
                  </a:lnTo>
                  <a:lnTo>
                    <a:pt x="1259459" y="702563"/>
                  </a:lnTo>
                  <a:lnTo>
                    <a:pt x="1257836" y="750662"/>
                  </a:lnTo>
                  <a:lnTo>
                    <a:pt x="1253039" y="797891"/>
                  </a:lnTo>
                  <a:lnTo>
                    <a:pt x="1245172" y="844146"/>
                  </a:lnTo>
                  <a:lnTo>
                    <a:pt x="1234339" y="889322"/>
                  </a:lnTo>
                  <a:lnTo>
                    <a:pt x="1220645" y="933315"/>
                  </a:lnTo>
                  <a:lnTo>
                    <a:pt x="1204196" y="976020"/>
                  </a:lnTo>
                  <a:lnTo>
                    <a:pt x="1185094" y="1017333"/>
                  </a:lnTo>
                  <a:lnTo>
                    <a:pt x="1163447" y="1057147"/>
                  </a:lnTo>
                  <a:lnTo>
                    <a:pt x="1139356" y="1095360"/>
                  </a:lnTo>
                  <a:lnTo>
                    <a:pt x="1112929" y="1131866"/>
                  </a:lnTo>
                  <a:lnTo>
                    <a:pt x="1084269" y="1166561"/>
                  </a:lnTo>
                  <a:lnTo>
                    <a:pt x="1053480" y="1199340"/>
                  </a:lnTo>
                  <a:lnTo>
                    <a:pt x="1020669" y="1230098"/>
                  </a:lnTo>
                  <a:lnTo>
                    <a:pt x="985938" y="1258730"/>
                  </a:lnTo>
                  <a:lnTo>
                    <a:pt x="949394" y="1285133"/>
                  </a:lnTo>
                  <a:lnTo>
                    <a:pt x="911140" y="1309200"/>
                  </a:lnTo>
                  <a:lnTo>
                    <a:pt x="871281" y="1330828"/>
                  </a:lnTo>
                  <a:lnTo>
                    <a:pt x="829923" y="1349912"/>
                  </a:lnTo>
                  <a:lnTo>
                    <a:pt x="787169" y="1366347"/>
                  </a:lnTo>
                  <a:lnTo>
                    <a:pt x="743124" y="1380029"/>
                  </a:lnTo>
                  <a:lnTo>
                    <a:pt x="697894" y="1390853"/>
                  </a:lnTo>
                  <a:lnTo>
                    <a:pt x="651582" y="1398713"/>
                  </a:lnTo>
                  <a:lnTo>
                    <a:pt x="604293" y="1403507"/>
                  </a:lnTo>
                  <a:lnTo>
                    <a:pt x="556132" y="1405128"/>
                  </a:lnTo>
                  <a:lnTo>
                    <a:pt x="506172" y="1403355"/>
                  </a:lnTo>
                  <a:lnTo>
                    <a:pt x="456808" y="1398092"/>
                  </a:lnTo>
                  <a:lnTo>
                    <a:pt x="408205" y="1389418"/>
                  </a:lnTo>
                  <a:lnTo>
                    <a:pt x="360525" y="1377414"/>
                  </a:lnTo>
                  <a:lnTo>
                    <a:pt x="313933" y="1362159"/>
                  </a:lnTo>
                  <a:lnTo>
                    <a:pt x="268593" y="1343733"/>
                  </a:lnTo>
                  <a:lnTo>
                    <a:pt x="224667" y="1322217"/>
                  </a:lnTo>
                  <a:lnTo>
                    <a:pt x="182321" y="1297691"/>
                  </a:lnTo>
                  <a:lnTo>
                    <a:pt x="141717" y="1270235"/>
                  </a:lnTo>
                  <a:lnTo>
                    <a:pt x="103019" y="1239929"/>
                  </a:lnTo>
                  <a:lnTo>
                    <a:pt x="66391" y="1206853"/>
                  </a:lnTo>
                  <a:lnTo>
                    <a:pt x="31997" y="1171088"/>
                  </a:lnTo>
                  <a:lnTo>
                    <a:pt x="0" y="1132713"/>
                  </a:lnTo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78" name="object 18">
              <a:extLst>
                <a:ext uri="{FF2B5EF4-FFF2-40B4-BE49-F238E27FC236}">
                  <a16:creationId xmlns:a16="http://schemas.microsoft.com/office/drawing/2014/main" id="{60F58578-3E3B-45FB-817B-B5930C4253E7}"/>
                </a:ext>
              </a:extLst>
            </p:cNvPr>
            <p:cNvSpPr/>
            <p:nvPr/>
          </p:nvSpPr>
          <p:spPr>
            <a:xfrm>
              <a:off x="3467100" y="1962911"/>
              <a:ext cx="1278890" cy="1277620"/>
            </a:xfrm>
            <a:custGeom>
              <a:avLst/>
              <a:gdLst/>
              <a:ahLst/>
              <a:cxnLst/>
              <a:rect l="l" t="t" r="r" b="b"/>
              <a:pathLst>
                <a:path w="1278889" h="1277620">
                  <a:moveTo>
                    <a:pt x="639317" y="0"/>
                  </a:moveTo>
                  <a:lnTo>
                    <a:pt x="687027" y="1751"/>
                  </a:lnTo>
                  <a:lnTo>
                    <a:pt x="733785" y="6923"/>
                  </a:lnTo>
                  <a:lnTo>
                    <a:pt x="779468" y="15392"/>
                  </a:lnTo>
                  <a:lnTo>
                    <a:pt x="823952" y="27034"/>
                  </a:lnTo>
                  <a:lnTo>
                    <a:pt x="867112" y="41727"/>
                  </a:lnTo>
                  <a:lnTo>
                    <a:pt x="908827" y="59346"/>
                  </a:lnTo>
                  <a:lnTo>
                    <a:pt x="948971" y="79769"/>
                  </a:lnTo>
                  <a:lnTo>
                    <a:pt x="987422" y="102871"/>
                  </a:lnTo>
                  <a:lnTo>
                    <a:pt x="1024055" y="128530"/>
                  </a:lnTo>
                  <a:lnTo>
                    <a:pt x="1058747" y="156622"/>
                  </a:lnTo>
                  <a:lnTo>
                    <a:pt x="1091374" y="187023"/>
                  </a:lnTo>
                  <a:lnTo>
                    <a:pt x="1121813" y="219610"/>
                  </a:lnTo>
                  <a:lnTo>
                    <a:pt x="1149940" y="254260"/>
                  </a:lnTo>
                  <a:lnTo>
                    <a:pt x="1175631" y="290849"/>
                  </a:lnTo>
                  <a:lnTo>
                    <a:pt x="1198763" y="329253"/>
                  </a:lnTo>
                  <a:lnTo>
                    <a:pt x="1219212" y="369350"/>
                  </a:lnTo>
                  <a:lnTo>
                    <a:pt x="1236854" y="411016"/>
                  </a:lnTo>
                  <a:lnTo>
                    <a:pt x="1251565" y="454127"/>
                  </a:lnTo>
                  <a:lnTo>
                    <a:pt x="1263223" y="498560"/>
                  </a:lnTo>
                  <a:lnTo>
                    <a:pt x="1271703" y="544191"/>
                  </a:lnTo>
                  <a:lnTo>
                    <a:pt x="1276882" y="590898"/>
                  </a:lnTo>
                  <a:lnTo>
                    <a:pt x="1278636" y="638555"/>
                  </a:lnTo>
                  <a:lnTo>
                    <a:pt x="1276882" y="686213"/>
                  </a:lnTo>
                  <a:lnTo>
                    <a:pt x="1271703" y="732920"/>
                  </a:lnTo>
                  <a:lnTo>
                    <a:pt x="1263223" y="778551"/>
                  </a:lnTo>
                  <a:lnTo>
                    <a:pt x="1251565" y="822984"/>
                  </a:lnTo>
                  <a:lnTo>
                    <a:pt x="1236854" y="866095"/>
                  </a:lnTo>
                  <a:lnTo>
                    <a:pt x="1219212" y="907761"/>
                  </a:lnTo>
                  <a:lnTo>
                    <a:pt x="1198763" y="947858"/>
                  </a:lnTo>
                  <a:lnTo>
                    <a:pt x="1175631" y="986262"/>
                  </a:lnTo>
                  <a:lnTo>
                    <a:pt x="1149940" y="1022851"/>
                  </a:lnTo>
                  <a:lnTo>
                    <a:pt x="1121813" y="1057501"/>
                  </a:lnTo>
                  <a:lnTo>
                    <a:pt x="1091374" y="1090088"/>
                  </a:lnTo>
                  <a:lnTo>
                    <a:pt x="1058747" y="1120489"/>
                  </a:lnTo>
                  <a:lnTo>
                    <a:pt x="1024055" y="1148581"/>
                  </a:lnTo>
                  <a:lnTo>
                    <a:pt x="987422" y="1174240"/>
                  </a:lnTo>
                  <a:lnTo>
                    <a:pt x="948971" y="1197342"/>
                  </a:lnTo>
                  <a:lnTo>
                    <a:pt x="908827" y="1217765"/>
                  </a:lnTo>
                  <a:lnTo>
                    <a:pt x="867112" y="1235384"/>
                  </a:lnTo>
                  <a:lnTo>
                    <a:pt x="823952" y="1250077"/>
                  </a:lnTo>
                  <a:lnTo>
                    <a:pt x="779468" y="1261719"/>
                  </a:lnTo>
                  <a:lnTo>
                    <a:pt x="733785" y="1270188"/>
                  </a:lnTo>
                  <a:lnTo>
                    <a:pt x="687027" y="1275360"/>
                  </a:lnTo>
                  <a:lnTo>
                    <a:pt x="639317" y="1277112"/>
                  </a:lnTo>
                  <a:lnTo>
                    <a:pt x="591608" y="1275360"/>
                  </a:lnTo>
                  <a:lnTo>
                    <a:pt x="544850" y="1270188"/>
                  </a:lnTo>
                  <a:lnTo>
                    <a:pt x="499167" y="1261719"/>
                  </a:lnTo>
                  <a:lnTo>
                    <a:pt x="454683" y="1250077"/>
                  </a:lnTo>
                  <a:lnTo>
                    <a:pt x="411523" y="1235384"/>
                  </a:lnTo>
                  <a:lnTo>
                    <a:pt x="369808" y="1217765"/>
                  </a:lnTo>
                  <a:lnTo>
                    <a:pt x="329664" y="1197342"/>
                  </a:lnTo>
                  <a:lnTo>
                    <a:pt x="291213" y="1174240"/>
                  </a:lnTo>
                  <a:lnTo>
                    <a:pt x="254580" y="1148581"/>
                  </a:lnTo>
                  <a:lnTo>
                    <a:pt x="219888" y="1120489"/>
                  </a:lnTo>
                  <a:lnTo>
                    <a:pt x="187261" y="1090088"/>
                  </a:lnTo>
                  <a:lnTo>
                    <a:pt x="156822" y="1057501"/>
                  </a:lnTo>
                  <a:lnTo>
                    <a:pt x="128695" y="1022851"/>
                  </a:lnTo>
                  <a:lnTo>
                    <a:pt x="103004" y="986262"/>
                  </a:lnTo>
                  <a:lnTo>
                    <a:pt x="79872" y="947858"/>
                  </a:lnTo>
                  <a:lnTo>
                    <a:pt x="59423" y="907761"/>
                  </a:lnTo>
                  <a:lnTo>
                    <a:pt x="41781" y="866095"/>
                  </a:lnTo>
                  <a:lnTo>
                    <a:pt x="27070" y="822984"/>
                  </a:lnTo>
                  <a:lnTo>
                    <a:pt x="15412" y="778551"/>
                  </a:lnTo>
                  <a:lnTo>
                    <a:pt x="6932" y="732920"/>
                  </a:lnTo>
                  <a:lnTo>
                    <a:pt x="1753" y="686213"/>
                  </a:lnTo>
                  <a:lnTo>
                    <a:pt x="0" y="638555"/>
                  </a:lnTo>
                  <a:lnTo>
                    <a:pt x="2217" y="585401"/>
                  </a:lnTo>
                  <a:lnTo>
                    <a:pt x="8812" y="532886"/>
                  </a:lnTo>
                  <a:lnTo>
                    <a:pt x="19696" y="481266"/>
                  </a:lnTo>
                  <a:lnTo>
                    <a:pt x="34782" y="430799"/>
                  </a:lnTo>
                  <a:lnTo>
                    <a:pt x="53981" y="381744"/>
                  </a:lnTo>
                  <a:lnTo>
                    <a:pt x="77206" y="334357"/>
                  </a:lnTo>
                  <a:lnTo>
                    <a:pt x="104368" y="288895"/>
                  </a:lnTo>
                  <a:lnTo>
                    <a:pt x="135382" y="245617"/>
                  </a:lnTo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79" name="object 19">
              <a:extLst>
                <a:ext uri="{FF2B5EF4-FFF2-40B4-BE49-F238E27FC236}">
                  <a16:creationId xmlns:a16="http://schemas.microsoft.com/office/drawing/2014/main" id="{63B88205-4384-47CF-BA32-AA3BDCD7E5E4}"/>
                </a:ext>
              </a:extLst>
            </p:cNvPr>
            <p:cNvSpPr/>
            <p:nvPr/>
          </p:nvSpPr>
          <p:spPr>
            <a:xfrm>
              <a:off x="4111750" y="1822705"/>
              <a:ext cx="772796" cy="1082675"/>
            </a:xfrm>
            <a:custGeom>
              <a:avLst/>
              <a:gdLst/>
              <a:ahLst/>
              <a:cxnLst/>
              <a:rect l="l" t="t" r="r" b="b"/>
              <a:pathLst>
                <a:path w="772795" h="1082675">
                  <a:moveTo>
                    <a:pt x="0" y="0"/>
                  </a:moveTo>
                  <a:lnTo>
                    <a:pt x="48863" y="1521"/>
                  </a:lnTo>
                  <a:lnTo>
                    <a:pt x="96919" y="6026"/>
                  </a:lnTo>
                  <a:lnTo>
                    <a:pt x="144077" y="13424"/>
                  </a:lnTo>
                  <a:lnTo>
                    <a:pt x="190246" y="23624"/>
                  </a:lnTo>
                  <a:lnTo>
                    <a:pt x="235337" y="36535"/>
                  </a:lnTo>
                  <a:lnTo>
                    <a:pt x="279258" y="52067"/>
                  </a:lnTo>
                  <a:lnTo>
                    <a:pt x="321919" y="70128"/>
                  </a:lnTo>
                  <a:lnTo>
                    <a:pt x="363229" y="90629"/>
                  </a:lnTo>
                  <a:lnTo>
                    <a:pt x="403098" y="113479"/>
                  </a:lnTo>
                  <a:lnTo>
                    <a:pt x="441436" y="138587"/>
                  </a:lnTo>
                  <a:lnTo>
                    <a:pt x="478151" y="165862"/>
                  </a:lnTo>
                  <a:lnTo>
                    <a:pt x="513154" y="195214"/>
                  </a:lnTo>
                  <a:lnTo>
                    <a:pt x="546354" y="226552"/>
                  </a:lnTo>
                  <a:lnTo>
                    <a:pt x="577659" y="259785"/>
                  </a:lnTo>
                  <a:lnTo>
                    <a:pt x="606981" y="294823"/>
                  </a:lnTo>
                  <a:lnTo>
                    <a:pt x="634228" y="331575"/>
                  </a:lnTo>
                  <a:lnTo>
                    <a:pt x="659309" y="369951"/>
                  </a:lnTo>
                  <a:lnTo>
                    <a:pt x="682135" y="409859"/>
                  </a:lnTo>
                  <a:lnTo>
                    <a:pt x="702614" y="451210"/>
                  </a:lnTo>
                  <a:lnTo>
                    <a:pt x="720657" y="493912"/>
                  </a:lnTo>
                  <a:lnTo>
                    <a:pt x="736172" y="537875"/>
                  </a:lnTo>
                  <a:lnTo>
                    <a:pt x="749069" y="583008"/>
                  </a:lnTo>
                  <a:lnTo>
                    <a:pt x="759257" y="629221"/>
                  </a:lnTo>
                  <a:lnTo>
                    <a:pt x="766647" y="676422"/>
                  </a:lnTo>
                  <a:lnTo>
                    <a:pt x="771147" y="724522"/>
                  </a:lnTo>
                  <a:lnTo>
                    <a:pt x="772668" y="773430"/>
                  </a:lnTo>
                  <a:lnTo>
                    <a:pt x="770853" y="826453"/>
                  </a:lnTo>
                  <a:lnTo>
                    <a:pt x="765433" y="879103"/>
                  </a:lnTo>
                  <a:lnTo>
                    <a:pt x="756443" y="931195"/>
                  </a:lnTo>
                  <a:lnTo>
                    <a:pt x="743918" y="982547"/>
                  </a:lnTo>
                  <a:lnTo>
                    <a:pt x="727894" y="1032974"/>
                  </a:lnTo>
                  <a:lnTo>
                    <a:pt x="708406" y="1082294"/>
                  </a:lnTo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80" name="object 40">
              <a:extLst>
                <a:ext uri="{FF2B5EF4-FFF2-40B4-BE49-F238E27FC236}">
                  <a16:creationId xmlns:a16="http://schemas.microsoft.com/office/drawing/2014/main" id="{E73A811D-D9FF-4D8F-AA5C-2CCFB426D687}"/>
                </a:ext>
              </a:extLst>
            </p:cNvPr>
            <p:cNvSpPr/>
            <p:nvPr/>
          </p:nvSpPr>
          <p:spPr>
            <a:xfrm>
              <a:off x="3547109" y="2032254"/>
              <a:ext cx="1130935" cy="1130935"/>
            </a:xfrm>
            <a:custGeom>
              <a:avLst/>
              <a:gdLst/>
              <a:ahLst/>
              <a:cxnLst/>
              <a:rect l="l" t="t" r="r" b="b"/>
              <a:pathLst>
                <a:path w="1130935" h="1130935">
                  <a:moveTo>
                    <a:pt x="565403" y="0"/>
                  </a:moveTo>
                  <a:lnTo>
                    <a:pt x="516614" y="2075"/>
                  </a:lnTo>
                  <a:lnTo>
                    <a:pt x="468978" y="8187"/>
                  </a:lnTo>
                  <a:lnTo>
                    <a:pt x="422665" y="18167"/>
                  </a:lnTo>
                  <a:lnTo>
                    <a:pt x="377844" y="31845"/>
                  </a:lnTo>
                  <a:lnTo>
                    <a:pt x="334686" y="49051"/>
                  </a:lnTo>
                  <a:lnTo>
                    <a:pt x="293360" y="69615"/>
                  </a:lnTo>
                  <a:lnTo>
                    <a:pt x="254034" y="93369"/>
                  </a:lnTo>
                  <a:lnTo>
                    <a:pt x="216881" y="120142"/>
                  </a:lnTo>
                  <a:lnTo>
                    <a:pt x="182067" y="149765"/>
                  </a:lnTo>
                  <a:lnTo>
                    <a:pt x="149765" y="182067"/>
                  </a:lnTo>
                  <a:lnTo>
                    <a:pt x="120142" y="216881"/>
                  </a:lnTo>
                  <a:lnTo>
                    <a:pt x="93369" y="254034"/>
                  </a:lnTo>
                  <a:lnTo>
                    <a:pt x="69615" y="293360"/>
                  </a:lnTo>
                  <a:lnTo>
                    <a:pt x="49051" y="334686"/>
                  </a:lnTo>
                  <a:lnTo>
                    <a:pt x="31845" y="377844"/>
                  </a:lnTo>
                  <a:lnTo>
                    <a:pt x="18167" y="422665"/>
                  </a:lnTo>
                  <a:lnTo>
                    <a:pt x="8187" y="468978"/>
                  </a:lnTo>
                  <a:lnTo>
                    <a:pt x="2075" y="516614"/>
                  </a:lnTo>
                  <a:lnTo>
                    <a:pt x="0" y="565404"/>
                  </a:lnTo>
                  <a:lnTo>
                    <a:pt x="2075" y="614193"/>
                  </a:lnTo>
                  <a:lnTo>
                    <a:pt x="8187" y="661829"/>
                  </a:lnTo>
                  <a:lnTo>
                    <a:pt x="18167" y="708142"/>
                  </a:lnTo>
                  <a:lnTo>
                    <a:pt x="31845" y="752963"/>
                  </a:lnTo>
                  <a:lnTo>
                    <a:pt x="49051" y="796121"/>
                  </a:lnTo>
                  <a:lnTo>
                    <a:pt x="69615" y="837447"/>
                  </a:lnTo>
                  <a:lnTo>
                    <a:pt x="93369" y="876773"/>
                  </a:lnTo>
                  <a:lnTo>
                    <a:pt x="120142" y="913926"/>
                  </a:lnTo>
                  <a:lnTo>
                    <a:pt x="149765" y="948740"/>
                  </a:lnTo>
                  <a:lnTo>
                    <a:pt x="182067" y="981042"/>
                  </a:lnTo>
                  <a:lnTo>
                    <a:pt x="216881" y="1010665"/>
                  </a:lnTo>
                  <a:lnTo>
                    <a:pt x="254034" y="1037438"/>
                  </a:lnTo>
                  <a:lnTo>
                    <a:pt x="293360" y="1061192"/>
                  </a:lnTo>
                  <a:lnTo>
                    <a:pt x="334686" y="1081756"/>
                  </a:lnTo>
                  <a:lnTo>
                    <a:pt x="377844" y="1098962"/>
                  </a:lnTo>
                  <a:lnTo>
                    <a:pt x="422665" y="1112640"/>
                  </a:lnTo>
                  <a:lnTo>
                    <a:pt x="468978" y="1122620"/>
                  </a:lnTo>
                  <a:lnTo>
                    <a:pt x="516614" y="1128732"/>
                  </a:lnTo>
                  <a:lnTo>
                    <a:pt x="565403" y="1130808"/>
                  </a:lnTo>
                  <a:lnTo>
                    <a:pt x="614193" y="1128732"/>
                  </a:lnTo>
                  <a:lnTo>
                    <a:pt x="661829" y="1122620"/>
                  </a:lnTo>
                  <a:lnTo>
                    <a:pt x="708142" y="1112640"/>
                  </a:lnTo>
                  <a:lnTo>
                    <a:pt x="752963" y="1098962"/>
                  </a:lnTo>
                  <a:lnTo>
                    <a:pt x="796121" y="1081756"/>
                  </a:lnTo>
                  <a:lnTo>
                    <a:pt x="837447" y="1061192"/>
                  </a:lnTo>
                  <a:lnTo>
                    <a:pt x="876773" y="1037438"/>
                  </a:lnTo>
                  <a:lnTo>
                    <a:pt x="913926" y="1010665"/>
                  </a:lnTo>
                  <a:lnTo>
                    <a:pt x="948740" y="981042"/>
                  </a:lnTo>
                  <a:lnTo>
                    <a:pt x="981042" y="948740"/>
                  </a:lnTo>
                  <a:lnTo>
                    <a:pt x="1010665" y="913926"/>
                  </a:lnTo>
                  <a:lnTo>
                    <a:pt x="1037438" y="876773"/>
                  </a:lnTo>
                  <a:lnTo>
                    <a:pt x="1061192" y="837447"/>
                  </a:lnTo>
                  <a:lnTo>
                    <a:pt x="1081756" y="796121"/>
                  </a:lnTo>
                  <a:lnTo>
                    <a:pt x="1098962" y="752963"/>
                  </a:lnTo>
                  <a:lnTo>
                    <a:pt x="1112640" y="708142"/>
                  </a:lnTo>
                  <a:lnTo>
                    <a:pt x="1122620" y="661829"/>
                  </a:lnTo>
                  <a:lnTo>
                    <a:pt x="1128732" y="614193"/>
                  </a:lnTo>
                  <a:lnTo>
                    <a:pt x="1130807" y="565404"/>
                  </a:lnTo>
                  <a:lnTo>
                    <a:pt x="1128732" y="516614"/>
                  </a:lnTo>
                  <a:lnTo>
                    <a:pt x="1122620" y="468978"/>
                  </a:lnTo>
                  <a:lnTo>
                    <a:pt x="1112640" y="422665"/>
                  </a:lnTo>
                  <a:lnTo>
                    <a:pt x="1098962" y="377844"/>
                  </a:lnTo>
                  <a:lnTo>
                    <a:pt x="1081756" y="334686"/>
                  </a:lnTo>
                  <a:lnTo>
                    <a:pt x="1061192" y="293360"/>
                  </a:lnTo>
                  <a:lnTo>
                    <a:pt x="1037438" y="254034"/>
                  </a:lnTo>
                  <a:lnTo>
                    <a:pt x="1010665" y="216881"/>
                  </a:lnTo>
                  <a:lnTo>
                    <a:pt x="981042" y="182067"/>
                  </a:lnTo>
                  <a:lnTo>
                    <a:pt x="948740" y="149765"/>
                  </a:lnTo>
                  <a:lnTo>
                    <a:pt x="913926" y="120142"/>
                  </a:lnTo>
                  <a:lnTo>
                    <a:pt x="876773" y="93369"/>
                  </a:lnTo>
                  <a:lnTo>
                    <a:pt x="837447" y="69615"/>
                  </a:lnTo>
                  <a:lnTo>
                    <a:pt x="796121" y="49051"/>
                  </a:lnTo>
                  <a:lnTo>
                    <a:pt x="752963" y="31845"/>
                  </a:lnTo>
                  <a:lnTo>
                    <a:pt x="708142" y="18167"/>
                  </a:lnTo>
                  <a:lnTo>
                    <a:pt x="661829" y="8187"/>
                  </a:lnTo>
                  <a:lnTo>
                    <a:pt x="614193" y="2075"/>
                  </a:lnTo>
                  <a:lnTo>
                    <a:pt x="565403" y="0"/>
                  </a:lnTo>
                  <a:close/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81" name="object 41">
              <a:extLst>
                <a:ext uri="{FF2B5EF4-FFF2-40B4-BE49-F238E27FC236}">
                  <a16:creationId xmlns:a16="http://schemas.microsoft.com/office/drawing/2014/main" id="{5EF69DED-DA14-465B-AEAE-45030D81CA20}"/>
                </a:ext>
              </a:extLst>
            </p:cNvPr>
            <p:cNvSpPr/>
            <p:nvPr/>
          </p:nvSpPr>
          <p:spPr>
            <a:xfrm>
              <a:off x="3547109" y="2032255"/>
              <a:ext cx="1130936" cy="1130935"/>
            </a:xfrm>
            <a:custGeom>
              <a:avLst/>
              <a:gdLst/>
              <a:ahLst/>
              <a:cxnLst/>
              <a:rect l="l" t="t" r="r" b="b"/>
              <a:pathLst>
                <a:path w="1130935" h="1130935">
                  <a:moveTo>
                    <a:pt x="0" y="565404"/>
                  </a:moveTo>
                  <a:lnTo>
                    <a:pt x="2075" y="516614"/>
                  </a:lnTo>
                  <a:lnTo>
                    <a:pt x="8187" y="468978"/>
                  </a:lnTo>
                  <a:lnTo>
                    <a:pt x="18167" y="422665"/>
                  </a:lnTo>
                  <a:lnTo>
                    <a:pt x="31845" y="377844"/>
                  </a:lnTo>
                  <a:lnTo>
                    <a:pt x="49051" y="334686"/>
                  </a:lnTo>
                  <a:lnTo>
                    <a:pt x="69615" y="293360"/>
                  </a:lnTo>
                  <a:lnTo>
                    <a:pt x="93369" y="254034"/>
                  </a:lnTo>
                  <a:lnTo>
                    <a:pt x="120142" y="216881"/>
                  </a:lnTo>
                  <a:lnTo>
                    <a:pt x="149765" y="182067"/>
                  </a:lnTo>
                  <a:lnTo>
                    <a:pt x="182067" y="149765"/>
                  </a:lnTo>
                  <a:lnTo>
                    <a:pt x="216881" y="120142"/>
                  </a:lnTo>
                  <a:lnTo>
                    <a:pt x="254034" y="93369"/>
                  </a:lnTo>
                  <a:lnTo>
                    <a:pt x="293360" y="69615"/>
                  </a:lnTo>
                  <a:lnTo>
                    <a:pt x="334686" y="49051"/>
                  </a:lnTo>
                  <a:lnTo>
                    <a:pt x="377844" y="31845"/>
                  </a:lnTo>
                  <a:lnTo>
                    <a:pt x="422665" y="18167"/>
                  </a:lnTo>
                  <a:lnTo>
                    <a:pt x="468978" y="8187"/>
                  </a:lnTo>
                  <a:lnTo>
                    <a:pt x="516614" y="2075"/>
                  </a:lnTo>
                  <a:lnTo>
                    <a:pt x="565403" y="0"/>
                  </a:lnTo>
                  <a:lnTo>
                    <a:pt x="614193" y="2075"/>
                  </a:lnTo>
                  <a:lnTo>
                    <a:pt x="661829" y="8187"/>
                  </a:lnTo>
                  <a:lnTo>
                    <a:pt x="708142" y="18167"/>
                  </a:lnTo>
                  <a:lnTo>
                    <a:pt x="752963" y="31845"/>
                  </a:lnTo>
                  <a:lnTo>
                    <a:pt x="796121" y="49051"/>
                  </a:lnTo>
                  <a:lnTo>
                    <a:pt x="837447" y="69615"/>
                  </a:lnTo>
                  <a:lnTo>
                    <a:pt x="876773" y="93369"/>
                  </a:lnTo>
                  <a:lnTo>
                    <a:pt x="913926" y="120142"/>
                  </a:lnTo>
                  <a:lnTo>
                    <a:pt x="948740" y="149765"/>
                  </a:lnTo>
                  <a:lnTo>
                    <a:pt x="981042" y="182067"/>
                  </a:lnTo>
                  <a:lnTo>
                    <a:pt x="1010665" y="216881"/>
                  </a:lnTo>
                  <a:lnTo>
                    <a:pt x="1037438" y="254034"/>
                  </a:lnTo>
                  <a:lnTo>
                    <a:pt x="1061192" y="293360"/>
                  </a:lnTo>
                  <a:lnTo>
                    <a:pt x="1081756" y="334686"/>
                  </a:lnTo>
                  <a:lnTo>
                    <a:pt x="1098962" y="377844"/>
                  </a:lnTo>
                  <a:lnTo>
                    <a:pt x="1112640" y="422665"/>
                  </a:lnTo>
                  <a:lnTo>
                    <a:pt x="1122620" y="468978"/>
                  </a:lnTo>
                  <a:lnTo>
                    <a:pt x="1128732" y="516614"/>
                  </a:lnTo>
                  <a:lnTo>
                    <a:pt x="1130807" y="565404"/>
                  </a:lnTo>
                  <a:lnTo>
                    <a:pt x="1128732" y="614193"/>
                  </a:lnTo>
                  <a:lnTo>
                    <a:pt x="1122620" y="661829"/>
                  </a:lnTo>
                  <a:lnTo>
                    <a:pt x="1112640" y="708142"/>
                  </a:lnTo>
                  <a:lnTo>
                    <a:pt x="1098962" y="752963"/>
                  </a:lnTo>
                  <a:lnTo>
                    <a:pt x="1081756" y="796121"/>
                  </a:lnTo>
                  <a:lnTo>
                    <a:pt x="1061192" y="837447"/>
                  </a:lnTo>
                  <a:lnTo>
                    <a:pt x="1037438" y="876773"/>
                  </a:lnTo>
                  <a:lnTo>
                    <a:pt x="1010665" y="913926"/>
                  </a:lnTo>
                  <a:lnTo>
                    <a:pt x="981042" y="948740"/>
                  </a:lnTo>
                  <a:lnTo>
                    <a:pt x="948740" y="981042"/>
                  </a:lnTo>
                  <a:lnTo>
                    <a:pt x="913926" y="1010665"/>
                  </a:lnTo>
                  <a:lnTo>
                    <a:pt x="876773" y="1037438"/>
                  </a:lnTo>
                  <a:lnTo>
                    <a:pt x="837447" y="1061192"/>
                  </a:lnTo>
                  <a:lnTo>
                    <a:pt x="796121" y="1081756"/>
                  </a:lnTo>
                  <a:lnTo>
                    <a:pt x="752963" y="1098962"/>
                  </a:lnTo>
                  <a:lnTo>
                    <a:pt x="708142" y="1112640"/>
                  </a:lnTo>
                  <a:lnTo>
                    <a:pt x="661829" y="1122620"/>
                  </a:lnTo>
                  <a:lnTo>
                    <a:pt x="614193" y="1128732"/>
                  </a:lnTo>
                  <a:lnTo>
                    <a:pt x="565403" y="1130808"/>
                  </a:lnTo>
                  <a:lnTo>
                    <a:pt x="516614" y="1128732"/>
                  </a:lnTo>
                  <a:lnTo>
                    <a:pt x="468978" y="1122620"/>
                  </a:lnTo>
                  <a:lnTo>
                    <a:pt x="422665" y="1112640"/>
                  </a:lnTo>
                  <a:lnTo>
                    <a:pt x="377844" y="1098962"/>
                  </a:lnTo>
                  <a:lnTo>
                    <a:pt x="334686" y="1081756"/>
                  </a:lnTo>
                  <a:lnTo>
                    <a:pt x="293360" y="1061192"/>
                  </a:lnTo>
                  <a:lnTo>
                    <a:pt x="254034" y="1037438"/>
                  </a:lnTo>
                  <a:lnTo>
                    <a:pt x="216881" y="1010665"/>
                  </a:lnTo>
                  <a:lnTo>
                    <a:pt x="182067" y="981042"/>
                  </a:lnTo>
                  <a:lnTo>
                    <a:pt x="149765" y="948740"/>
                  </a:lnTo>
                  <a:lnTo>
                    <a:pt x="120142" y="913926"/>
                  </a:lnTo>
                  <a:lnTo>
                    <a:pt x="93369" y="876773"/>
                  </a:lnTo>
                  <a:lnTo>
                    <a:pt x="69615" y="837447"/>
                  </a:lnTo>
                  <a:lnTo>
                    <a:pt x="49051" y="796121"/>
                  </a:lnTo>
                  <a:lnTo>
                    <a:pt x="31845" y="752963"/>
                  </a:lnTo>
                  <a:lnTo>
                    <a:pt x="18167" y="708142"/>
                  </a:lnTo>
                  <a:lnTo>
                    <a:pt x="8187" y="661829"/>
                  </a:lnTo>
                  <a:lnTo>
                    <a:pt x="2075" y="614193"/>
                  </a:lnTo>
                  <a:lnTo>
                    <a:pt x="0" y="565404"/>
                  </a:lnTo>
                  <a:close/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23" name="TextBox 22">
            <a:extLst>
              <a:ext uri="{FF2B5EF4-FFF2-40B4-BE49-F238E27FC236}">
                <a16:creationId xmlns:a16="http://schemas.microsoft.com/office/drawing/2014/main" id="{7BA73519-AF16-46D2-B536-47B6CB5C43F2}"/>
              </a:ext>
            </a:extLst>
          </p:cNvPr>
          <p:cNvSpPr txBox="1"/>
          <p:nvPr/>
        </p:nvSpPr>
        <p:spPr>
          <a:xfrm>
            <a:off x="400318" y="2119769"/>
            <a:ext cx="994499" cy="184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b-NO"/>
            </a:defPPr>
            <a:lvl1pPr>
              <a:defRPr sz="800" b="1">
                <a:solidFill>
                  <a:srgbClr val="5C5C5C"/>
                </a:solidFill>
                <a:latin typeface="Open San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err="1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Behovshaver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24" name="object 65">
            <a:extLst>
              <a:ext uri="{FF2B5EF4-FFF2-40B4-BE49-F238E27FC236}">
                <a16:creationId xmlns:a16="http://schemas.microsoft.com/office/drawing/2014/main" id="{B5BEEF05-5809-4D4A-9EEC-B26799C508D7}"/>
              </a:ext>
            </a:extLst>
          </p:cNvPr>
          <p:cNvSpPr/>
          <p:nvPr/>
        </p:nvSpPr>
        <p:spPr>
          <a:xfrm rot="2636572" flipV="1">
            <a:off x="1090904" y="3029964"/>
            <a:ext cx="767139" cy="203044"/>
          </a:xfrm>
          <a:custGeom>
            <a:avLst/>
            <a:gdLst/>
            <a:ahLst/>
            <a:cxnLst/>
            <a:rect l="l" t="t" r="r" b="b"/>
            <a:pathLst>
              <a:path w="1685289" h="352425">
                <a:moveTo>
                  <a:pt x="1621144" y="306764"/>
                </a:moveTo>
                <a:lnTo>
                  <a:pt x="1602486" y="327913"/>
                </a:lnTo>
                <a:lnTo>
                  <a:pt x="1684782" y="349758"/>
                </a:lnTo>
                <a:lnTo>
                  <a:pt x="1670790" y="315087"/>
                </a:lnTo>
                <a:lnTo>
                  <a:pt x="1631188" y="315087"/>
                </a:lnTo>
                <a:lnTo>
                  <a:pt x="1621144" y="306764"/>
                </a:lnTo>
                <a:close/>
              </a:path>
              <a:path w="1685289" h="352425">
                <a:moveTo>
                  <a:pt x="1633736" y="292491"/>
                </a:moveTo>
                <a:lnTo>
                  <a:pt x="1621144" y="306764"/>
                </a:lnTo>
                <a:lnTo>
                  <a:pt x="1631188" y="315087"/>
                </a:lnTo>
                <a:lnTo>
                  <a:pt x="1643380" y="300482"/>
                </a:lnTo>
                <a:lnTo>
                  <a:pt x="1633736" y="292491"/>
                </a:lnTo>
                <a:close/>
              </a:path>
              <a:path w="1685289" h="352425">
                <a:moveTo>
                  <a:pt x="1652905" y="270763"/>
                </a:moveTo>
                <a:lnTo>
                  <a:pt x="1633736" y="292491"/>
                </a:lnTo>
                <a:lnTo>
                  <a:pt x="1643380" y="300482"/>
                </a:lnTo>
                <a:lnTo>
                  <a:pt x="1631188" y="315087"/>
                </a:lnTo>
                <a:lnTo>
                  <a:pt x="1670790" y="315087"/>
                </a:lnTo>
                <a:lnTo>
                  <a:pt x="1652905" y="270763"/>
                </a:lnTo>
                <a:close/>
              </a:path>
              <a:path w="1685289" h="352425">
                <a:moveTo>
                  <a:pt x="1583689" y="252222"/>
                </a:moveTo>
                <a:lnTo>
                  <a:pt x="1572387" y="267588"/>
                </a:lnTo>
                <a:lnTo>
                  <a:pt x="1585976" y="277622"/>
                </a:lnTo>
                <a:lnTo>
                  <a:pt x="1621144" y="306764"/>
                </a:lnTo>
                <a:lnTo>
                  <a:pt x="1633736" y="292491"/>
                </a:lnTo>
                <a:lnTo>
                  <a:pt x="1598168" y="263017"/>
                </a:lnTo>
                <a:lnTo>
                  <a:pt x="1583689" y="252222"/>
                </a:lnTo>
                <a:close/>
              </a:path>
              <a:path w="1685289" h="352425">
                <a:moveTo>
                  <a:pt x="1472311" y="177292"/>
                </a:moveTo>
                <a:lnTo>
                  <a:pt x="1462532" y="193675"/>
                </a:lnTo>
                <a:lnTo>
                  <a:pt x="1488567" y="209296"/>
                </a:lnTo>
                <a:lnTo>
                  <a:pt x="1526286" y="234442"/>
                </a:lnTo>
                <a:lnTo>
                  <a:pt x="1536954" y="218694"/>
                </a:lnTo>
                <a:lnTo>
                  <a:pt x="1499108" y="193421"/>
                </a:lnTo>
                <a:lnTo>
                  <a:pt x="1472311" y="177292"/>
                </a:lnTo>
                <a:close/>
              </a:path>
              <a:path w="1685289" h="352425">
                <a:moveTo>
                  <a:pt x="1353693" y="114553"/>
                </a:moveTo>
                <a:lnTo>
                  <a:pt x="1345564" y="131825"/>
                </a:lnTo>
                <a:lnTo>
                  <a:pt x="1386586" y="151384"/>
                </a:lnTo>
                <a:lnTo>
                  <a:pt x="1413256" y="165608"/>
                </a:lnTo>
                <a:lnTo>
                  <a:pt x="1422273" y="148844"/>
                </a:lnTo>
                <a:lnTo>
                  <a:pt x="1395602" y="134493"/>
                </a:lnTo>
                <a:lnTo>
                  <a:pt x="1353693" y="114553"/>
                </a:lnTo>
                <a:close/>
              </a:path>
              <a:path w="1685289" h="352425">
                <a:moveTo>
                  <a:pt x="1228725" y="64770"/>
                </a:moveTo>
                <a:lnTo>
                  <a:pt x="1223010" y="82931"/>
                </a:lnTo>
                <a:lnTo>
                  <a:pt x="1226820" y="84200"/>
                </a:lnTo>
                <a:lnTo>
                  <a:pt x="1280922" y="103886"/>
                </a:lnTo>
                <a:lnTo>
                  <a:pt x="1293495" y="109220"/>
                </a:lnTo>
                <a:lnTo>
                  <a:pt x="1300861" y="91694"/>
                </a:lnTo>
                <a:lnTo>
                  <a:pt x="1288288" y="86360"/>
                </a:lnTo>
                <a:lnTo>
                  <a:pt x="1233424" y="66294"/>
                </a:lnTo>
                <a:lnTo>
                  <a:pt x="1228725" y="64770"/>
                </a:lnTo>
                <a:close/>
              </a:path>
              <a:path w="1685289" h="352425">
                <a:moveTo>
                  <a:pt x="1099312" y="29210"/>
                </a:moveTo>
                <a:lnTo>
                  <a:pt x="1095375" y="47751"/>
                </a:lnTo>
                <a:lnTo>
                  <a:pt x="1116965" y="52450"/>
                </a:lnTo>
                <a:lnTo>
                  <a:pt x="1168781" y="66039"/>
                </a:lnTo>
                <a:lnTo>
                  <a:pt x="1173734" y="47625"/>
                </a:lnTo>
                <a:lnTo>
                  <a:pt x="1121918" y="34036"/>
                </a:lnTo>
                <a:lnTo>
                  <a:pt x="1099312" y="29210"/>
                </a:lnTo>
                <a:close/>
              </a:path>
              <a:path w="1685289" h="352425">
                <a:moveTo>
                  <a:pt x="966978" y="7365"/>
                </a:moveTo>
                <a:lnTo>
                  <a:pt x="964692" y="26288"/>
                </a:lnTo>
                <a:lnTo>
                  <a:pt x="1005459" y="31114"/>
                </a:lnTo>
                <a:lnTo>
                  <a:pt x="1039749" y="36957"/>
                </a:lnTo>
                <a:lnTo>
                  <a:pt x="1042797" y="18161"/>
                </a:lnTo>
                <a:lnTo>
                  <a:pt x="1008634" y="12446"/>
                </a:lnTo>
                <a:lnTo>
                  <a:pt x="966978" y="7365"/>
                </a:lnTo>
                <a:close/>
              </a:path>
              <a:path w="1685289" h="352425">
                <a:moveTo>
                  <a:pt x="837057" y="0"/>
                </a:moveTo>
                <a:lnTo>
                  <a:pt x="832612" y="0"/>
                </a:lnTo>
                <a:lnTo>
                  <a:pt x="832993" y="19050"/>
                </a:lnTo>
                <a:lnTo>
                  <a:pt x="836549" y="19050"/>
                </a:lnTo>
                <a:lnTo>
                  <a:pt x="892937" y="20447"/>
                </a:lnTo>
                <a:lnTo>
                  <a:pt x="908177" y="21462"/>
                </a:lnTo>
                <a:lnTo>
                  <a:pt x="909574" y="2539"/>
                </a:lnTo>
                <a:lnTo>
                  <a:pt x="894334" y="1397"/>
                </a:lnTo>
                <a:lnTo>
                  <a:pt x="837057" y="0"/>
                </a:lnTo>
                <a:close/>
              </a:path>
              <a:path w="1685289" h="352425">
                <a:moveTo>
                  <a:pt x="774954" y="1397"/>
                </a:moveTo>
                <a:lnTo>
                  <a:pt x="722884" y="4952"/>
                </a:lnTo>
                <a:lnTo>
                  <a:pt x="698627" y="7747"/>
                </a:lnTo>
                <a:lnTo>
                  <a:pt x="700786" y="26670"/>
                </a:lnTo>
                <a:lnTo>
                  <a:pt x="724281" y="24002"/>
                </a:lnTo>
                <a:lnTo>
                  <a:pt x="776224" y="20447"/>
                </a:lnTo>
                <a:lnTo>
                  <a:pt x="774954" y="1397"/>
                </a:lnTo>
                <a:close/>
              </a:path>
              <a:path w="1685289" h="352425">
                <a:moveTo>
                  <a:pt x="641604" y="15494"/>
                </a:moveTo>
                <a:lnTo>
                  <a:pt x="609854" y="20574"/>
                </a:lnTo>
                <a:lnTo>
                  <a:pt x="566293" y="29845"/>
                </a:lnTo>
                <a:lnTo>
                  <a:pt x="570230" y="48513"/>
                </a:lnTo>
                <a:lnTo>
                  <a:pt x="612902" y="39370"/>
                </a:lnTo>
                <a:lnTo>
                  <a:pt x="644652" y="34289"/>
                </a:lnTo>
                <a:lnTo>
                  <a:pt x="641604" y="15494"/>
                </a:lnTo>
                <a:close/>
              </a:path>
              <a:path w="1685289" h="352425">
                <a:moveTo>
                  <a:pt x="510413" y="43814"/>
                </a:moveTo>
                <a:lnTo>
                  <a:pt x="498602" y="46989"/>
                </a:lnTo>
                <a:lnTo>
                  <a:pt x="443992" y="64135"/>
                </a:lnTo>
                <a:lnTo>
                  <a:pt x="436753" y="66801"/>
                </a:lnTo>
                <a:lnTo>
                  <a:pt x="443357" y="84709"/>
                </a:lnTo>
                <a:lnTo>
                  <a:pt x="449707" y="82296"/>
                </a:lnTo>
                <a:lnTo>
                  <a:pt x="503555" y="65405"/>
                </a:lnTo>
                <a:lnTo>
                  <a:pt x="515239" y="62357"/>
                </a:lnTo>
                <a:lnTo>
                  <a:pt x="510413" y="43814"/>
                </a:lnTo>
                <a:close/>
              </a:path>
              <a:path w="1685289" h="352425">
                <a:moveTo>
                  <a:pt x="382905" y="86995"/>
                </a:moveTo>
                <a:lnTo>
                  <a:pt x="337185" y="106425"/>
                </a:lnTo>
                <a:lnTo>
                  <a:pt x="312928" y="118237"/>
                </a:lnTo>
                <a:lnTo>
                  <a:pt x="321183" y="135382"/>
                </a:lnTo>
                <a:lnTo>
                  <a:pt x="344678" y="123951"/>
                </a:lnTo>
                <a:lnTo>
                  <a:pt x="390398" y="104521"/>
                </a:lnTo>
                <a:lnTo>
                  <a:pt x="382905" y="86995"/>
                </a:lnTo>
                <a:close/>
              </a:path>
              <a:path w="1685289" h="352425">
                <a:moveTo>
                  <a:pt x="261620" y="144525"/>
                </a:moveTo>
                <a:lnTo>
                  <a:pt x="234442" y="159385"/>
                </a:lnTo>
                <a:lnTo>
                  <a:pt x="195580" y="183387"/>
                </a:lnTo>
                <a:lnTo>
                  <a:pt x="205486" y="199517"/>
                </a:lnTo>
                <a:lnTo>
                  <a:pt x="243586" y="176149"/>
                </a:lnTo>
                <a:lnTo>
                  <a:pt x="270764" y="161289"/>
                </a:lnTo>
                <a:lnTo>
                  <a:pt x="261620" y="144525"/>
                </a:lnTo>
                <a:close/>
              </a:path>
              <a:path w="1685289" h="352425">
                <a:moveTo>
                  <a:pt x="147574" y="215392"/>
                </a:moveTo>
                <a:lnTo>
                  <a:pt x="136398" y="223138"/>
                </a:lnTo>
                <a:lnTo>
                  <a:pt x="89408" y="258952"/>
                </a:lnTo>
                <a:lnTo>
                  <a:pt x="85979" y="261747"/>
                </a:lnTo>
                <a:lnTo>
                  <a:pt x="98298" y="276225"/>
                </a:lnTo>
                <a:lnTo>
                  <a:pt x="100837" y="274065"/>
                </a:lnTo>
                <a:lnTo>
                  <a:pt x="147193" y="238760"/>
                </a:lnTo>
                <a:lnTo>
                  <a:pt x="158369" y="231139"/>
                </a:lnTo>
                <a:lnTo>
                  <a:pt x="147574" y="215392"/>
                </a:lnTo>
                <a:close/>
              </a:path>
              <a:path w="1685289" h="352425">
                <a:moveTo>
                  <a:pt x="42037" y="299085"/>
                </a:moveTo>
                <a:lnTo>
                  <a:pt x="0" y="338582"/>
                </a:lnTo>
                <a:lnTo>
                  <a:pt x="13081" y="352425"/>
                </a:lnTo>
                <a:lnTo>
                  <a:pt x="55118" y="313055"/>
                </a:lnTo>
                <a:lnTo>
                  <a:pt x="42037" y="299085"/>
                </a:lnTo>
                <a:close/>
              </a:path>
            </a:pathLst>
          </a:custGeom>
          <a:solidFill>
            <a:srgbClr val="A6A6A6"/>
          </a:solidFill>
          <a:ln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14693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25" name="object 21">
            <a:extLst>
              <a:ext uri="{FF2B5EF4-FFF2-40B4-BE49-F238E27FC236}">
                <a16:creationId xmlns:a16="http://schemas.microsoft.com/office/drawing/2014/main" id="{668B59D2-01C8-478E-9DBC-4745A455120B}"/>
              </a:ext>
            </a:extLst>
          </p:cNvPr>
          <p:cNvSpPr txBox="1"/>
          <p:nvPr/>
        </p:nvSpPr>
        <p:spPr>
          <a:xfrm>
            <a:off x="224951" y="3147714"/>
            <a:ext cx="1052868" cy="1384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nb-NO"/>
            </a:defPPr>
            <a:lvl1pPr marL="12700" marR="5080" indent="635" algn="ctr">
              <a:defRPr sz="900" spc="-10">
                <a:solidFill>
                  <a:srgbClr val="000000"/>
                </a:solidFill>
                <a:latin typeface="Open Sans"/>
                <a:cs typeface="Verdana"/>
              </a:defRPr>
            </a:lvl1pPr>
          </a:lstStyle>
          <a:p>
            <a:pPr marL="12700" marR="5080" lvl="0" indent="635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-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</a:rPr>
              <a:t>Melder </a:t>
            </a:r>
            <a:r>
              <a:rPr kumimoji="0" lang="en-US" sz="900" b="0" i="0" u="none" strike="noStrike" kern="1200" cap="none" spc="-1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</a:rPr>
              <a:t>behov</a:t>
            </a:r>
            <a:r>
              <a:rPr kumimoji="0" lang="en-US" sz="900" b="0" i="0" u="none" strike="noStrike" kern="1200" cap="none" spc="-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</a:rPr>
              <a:t> </a:t>
            </a:r>
            <a:endParaRPr lang="en-US" sz="900" b="0" i="0" u="none" strike="noStrike" kern="1200" cap="none" spc="-1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Open Sans"/>
            </a:endParaRPr>
          </a:p>
        </p:txBody>
      </p:sp>
      <p:sp>
        <p:nvSpPr>
          <p:cNvPr id="26" name="object 65">
            <a:extLst>
              <a:ext uri="{FF2B5EF4-FFF2-40B4-BE49-F238E27FC236}">
                <a16:creationId xmlns:a16="http://schemas.microsoft.com/office/drawing/2014/main" id="{4DBB2AC9-6D28-4388-A9A5-EE08E7F0C3A1}"/>
              </a:ext>
            </a:extLst>
          </p:cNvPr>
          <p:cNvSpPr/>
          <p:nvPr/>
        </p:nvSpPr>
        <p:spPr>
          <a:xfrm rot="18869929">
            <a:off x="2175501" y="2448836"/>
            <a:ext cx="730989" cy="110109"/>
          </a:xfrm>
          <a:custGeom>
            <a:avLst/>
            <a:gdLst/>
            <a:ahLst/>
            <a:cxnLst/>
            <a:rect l="l" t="t" r="r" b="b"/>
            <a:pathLst>
              <a:path w="1685289" h="352425">
                <a:moveTo>
                  <a:pt x="1621144" y="306764"/>
                </a:moveTo>
                <a:lnTo>
                  <a:pt x="1602486" y="327913"/>
                </a:lnTo>
                <a:lnTo>
                  <a:pt x="1684782" y="349758"/>
                </a:lnTo>
                <a:lnTo>
                  <a:pt x="1670790" y="315087"/>
                </a:lnTo>
                <a:lnTo>
                  <a:pt x="1631188" y="315087"/>
                </a:lnTo>
                <a:lnTo>
                  <a:pt x="1621144" y="306764"/>
                </a:lnTo>
                <a:close/>
              </a:path>
              <a:path w="1685289" h="352425">
                <a:moveTo>
                  <a:pt x="1633736" y="292491"/>
                </a:moveTo>
                <a:lnTo>
                  <a:pt x="1621144" y="306764"/>
                </a:lnTo>
                <a:lnTo>
                  <a:pt x="1631188" y="315087"/>
                </a:lnTo>
                <a:lnTo>
                  <a:pt x="1643380" y="300482"/>
                </a:lnTo>
                <a:lnTo>
                  <a:pt x="1633736" y="292491"/>
                </a:lnTo>
                <a:close/>
              </a:path>
              <a:path w="1685289" h="352425">
                <a:moveTo>
                  <a:pt x="1652905" y="270763"/>
                </a:moveTo>
                <a:lnTo>
                  <a:pt x="1633736" y="292491"/>
                </a:lnTo>
                <a:lnTo>
                  <a:pt x="1643380" y="300482"/>
                </a:lnTo>
                <a:lnTo>
                  <a:pt x="1631188" y="315087"/>
                </a:lnTo>
                <a:lnTo>
                  <a:pt x="1670790" y="315087"/>
                </a:lnTo>
                <a:lnTo>
                  <a:pt x="1652905" y="270763"/>
                </a:lnTo>
                <a:close/>
              </a:path>
              <a:path w="1685289" h="352425">
                <a:moveTo>
                  <a:pt x="1583689" y="252222"/>
                </a:moveTo>
                <a:lnTo>
                  <a:pt x="1572387" y="267588"/>
                </a:lnTo>
                <a:lnTo>
                  <a:pt x="1585976" y="277622"/>
                </a:lnTo>
                <a:lnTo>
                  <a:pt x="1621144" y="306764"/>
                </a:lnTo>
                <a:lnTo>
                  <a:pt x="1633736" y="292491"/>
                </a:lnTo>
                <a:lnTo>
                  <a:pt x="1598168" y="263017"/>
                </a:lnTo>
                <a:lnTo>
                  <a:pt x="1583689" y="252222"/>
                </a:lnTo>
                <a:close/>
              </a:path>
              <a:path w="1685289" h="352425">
                <a:moveTo>
                  <a:pt x="1472311" y="177292"/>
                </a:moveTo>
                <a:lnTo>
                  <a:pt x="1462532" y="193675"/>
                </a:lnTo>
                <a:lnTo>
                  <a:pt x="1488567" y="209296"/>
                </a:lnTo>
                <a:lnTo>
                  <a:pt x="1526286" y="234442"/>
                </a:lnTo>
                <a:lnTo>
                  <a:pt x="1536954" y="218694"/>
                </a:lnTo>
                <a:lnTo>
                  <a:pt x="1499108" y="193421"/>
                </a:lnTo>
                <a:lnTo>
                  <a:pt x="1472311" y="177292"/>
                </a:lnTo>
                <a:close/>
              </a:path>
              <a:path w="1685289" h="352425">
                <a:moveTo>
                  <a:pt x="1353693" y="114553"/>
                </a:moveTo>
                <a:lnTo>
                  <a:pt x="1345564" y="131825"/>
                </a:lnTo>
                <a:lnTo>
                  <a:pt x="1386586" y="151384"/>
                </a:lnTo>
                <a:lnTo>
                  <a:pt x="1413256" y="165608"/>
                </a:lnTo>
                <a:lnTo>
                  <a:pt x="1422273" y="148844"/>
                </a:lnTo>
                <a:lnTo>
                  <a:pt x="1395602" y="134493"/>
                </a:lnTo>
                <a:lnTo>
                  <a:pt x="1353693" y="114553"/>
                </a:lnTo>
                <a:close/>
              </a:path>
              <a:path w="1685289" h="352425">
                <a:moveTo>
                  <a:pt x="1228725" y="64770"/>
                </a:moveTo>
                <a:lnTo>
                  <a:pt x="1223010" y="82931"/>
                </a:lnTo>
                <a:lnTo>
                  <a:pt x="1226820" y="84200"/>
                </a:lnTo>
                <a:lnTo>
                  <a:pt x="1280922" y="103886"/>
                </a:lnTo>
                <a:lnTo>
                  <a:pt x="1293495" y="109220"/>
                </a:lnTo>
                <a:lnTo>
                  <a:pt x="1300861" y="91694"/>
                </a:lnTo>
                <a:lnTo>
                  <a:pt x="1288288" y="86360"/>
                </a:lnTo>
                <a:lnTo>
                  <a:pt x="1233424" y="66294"/>
                </a:lnTo>
                <a:lnTo>
                  <a:pt x="1228725" y="64770"/>
                </a:lnTo>
                <a:close/>
              </a:path>
              <a:path w="1685289" h="352425">
                <a:moveTo>
                  <a:pt x="1099312" y="29210"/>
                </a:moveTo>
                <a:lnTo>
                  <a:pt x="1095375" y="47751"/>
                </a:lnTo>
                <a:lnTo>
                  <a:pt x="1116965" y="52450"/>
                </a:lnTo>
                <a:lnTo>
                  <a:pt x="1168781" y="66039"/>
                </a:lnTo>
                <a:lnTo>
                  <a:pt x="1173734" y="47625"/>
                </a:lnTo>
                <a:lnTo>
                  <a:pt x="1121918" y="34036"/>
                </a:lnTo>
                <a:lnTo>
                  <a:pt x="1099312" y="29210"/>
                </a:lnTo>
                <a:close/>
              </a:path>
              <a:path w="1685289" h="352425">
                <a:moveTo>
                  <a:pt x="966978" y="7365"/>
                </a:moveTo>
                <a:lnTo>
                  <a:pt x="964692" y="26288"/>
                </a:lnTo>
                <a:lnTo>
                  <a:pt x="1005459" y="31114"/>
                </a:lnTo>
                <a:lnTo>
                  <a:pt x="1039749" y="36957"/>
                </a:lnTo>
                <a:lnTo>
                  <a:pt x="1042797" y="18161"/>
                </a:lnTo>
                <a:lnTo>
                  <a:pt x="1008634" y="12446"/>
                </a:lnTo>
                <a:lnTo>
                  <a:pt x="966978" y="7365"/>
                </a:lnTo>
                <a:close/>
              </a:path>
              <a:path w="1685289" h="352425">
                <a:moveTo>
                  <a:pt x="837057" y="0"/>
                </a:moveTo>
                <a:lnTo>
                  <a:pt x="832612" y="0"/>
                </a:lnTo>
                <a:lnTo>
                  <a:pt x="832993" y="19050"/>
                </a:lnTo>
                <a:lnTo>
                  <a:pt x="836549" y="19050"/>
                </a:lnTo>
                <a:lnTo>
                  <a:pt x="892937" y="20447"/>
                </a:lnTo>
                <a:lnTo>
                  <a:pt x="908177" y="21462"/>
                </a:lnTo>
                <a:lnTo>
                  <a:pt x="909574" y="2539"/>
                </a:lnTo>
                <a:lnTo>
                  <a:pt x="894334" y="1397"/>
                </a:lnTo>
                <a:lnTo>
                  <a:pt x="837057" y="0"/>
                </a:lnTo>
                <a:close/>
              </a:path>
              <a:path w="1685289" h="352425">
                <a:moveTo>
                  <a:pt x="774954" y="1397"/>
                </a:moveTo>
                <a:lnTo>
                  <a:pt x="722884" y="4952"/>
                </a:lnTo>
                <a:lnTo>
                  <a:pt x="698627" y="7747"/>
                </a:lnTo>
                <a:lnTo>
                  <a:pt x="700786" y="26670"/>
                </a:lnTo>
                <a:lnTo>
                  <a:pt x="724281" y="24002"/>
                </a:lnTo>
                <a:lnTo>
                  <a:pt x="776224" y="20447"/>
                </a:lnTo>
                <a:lnTo>
                  <a:pt x="774954" y="1397"/>
                </a:lnTo>
                <a:close/>
              </a:path>
              <a:path w="1685289" h="352425">
                <a:moveTo>
                  <a:pt x="641604" y="15494"/>
                </a:moveTo>
                <a:lnTo>
                  <a:pt x="609854" y="20574"/>
                </a:lnTo>
                <a:lnTo>
                  <a:pt x="566293" y="29845"/>
                </a:lnTo>
                <a:lnTo>
                  <a:pt x="570230" y="48513"/>
                </a:lnTo>
                <a:lnTo>
                  <a:pt x="612902" y="39370"/>
                </a:lnTo>
                <a:lnTo>
                  <a:pt x="644652" y="34289"/>
                </a:lnTo>
                <a:lnTo>
                  <a:pt x="641604" y="15494"/>
                </a:lnTo>
                <a:close/>
              </a:path>
              <a:path w="1685289" h="352425">
                <a:moveTo>
                  <a:pt x="510413" y="43814"/>
                </a:moveTo>
                <a:lnTo>
                  <a:pt x="498602" y="46989"/>
                </a:lnTo>
                <a:lnTo>
                  <a:pt x="443992" y="64135"/>
                </a:lnTo>
                <a:lnTo>
                  <a:pt x="436753" y="66801"/>
                </a:lnTo>
                <a:lnTo>
                  <a:pt x="443357" y="84709"/>
                </a:lnTo>
                <a:lnTo>
                  <a:pt x="449707" y="82296"/>
                </a:lnTo>
                <a:lnTo>
                  <a:pt x="503555" y="65405"/>
                </a:lnTo>
                <a:lnTo>
                  <a:pt x="515239" y="62357"/>
                </a:lnTo>
                <a:lnTo>
                  <a:pt x="510413" y="43814"/>
                </a:lnTo>
                <a:close/>
              </a:path>
              <a:path w="1685289" h="352425">
                <a:moveTo>
                  <a:pt x="382905" y="86995"/>
                </a:moveTo>
                <a:lnTo>
                  <a:pt x="337185" y="106425"/>
                </a:lnTo>
                <a:lnTo>
                  <a:pt x="312928" y="118237"/>
                </a:lnTo>
                <a:lnTo>
                  <a:pt x="321183" y="135382"/>
                </a:lnTo>
                <a:lnTo>
                  <a:pt x="344678" y="123951"/>
                </a:lnTo>
                <a:lnTo>
                  <a:pt x="390398" y="104521"/>
                </a:lnTo>
                <a:lnTo>
                  <a:pt x="382905" y="86995"/>
                </a:lnTo>
                <a:close/>
              </a:path>
              <a:path w="1685289" h="352425">
                <a:moveTo>
                  <a:pt x="261620" y="144525"/>
                </a:moveTo>
                <a:lnTo>
                  <a:pt x="234442" y="159385"/>
                </a:lnTo>
                <a:lnTo>
                  <a:pt x="195580" y="183387"/>
                </a:lnTo>
                <a:lnTo>
                  <a:pt x="205486" y="199517"/>
                </a:lnTo>
                <a:lnTo>
                  <a:pt x="243586" y="176149"/>
                </a:lnTo>
                <a:lnTo>
                  <a:pt x="270764" y="161289"/>
                </a:lnTo>
                <a:lnTo>
                  <a:pt x="261620" y="144525"/>
                </a:lnTo>
                <a:close/>
              </a:path>
              <a:path w="1685289" h="352425">
                <a:moveTo>
                  <a:pt x="147574" y="215392"/>
                </a:moveTo>
                <a:lnTo>
                  <a:pt x="136398" y="223138"/>
                </a:lnTo>
                <a:lnTo>
                  <a:pt x="89408" y="258952"/>
                </a:lnTo>
                <a:lnTo>
                  <a:pt x="85979" y="261747"/>
                </a:lnTo>
                <a:lnTo>
                  <a:pt x="98298" y="276225"/>
                </a:lnTo>
                <a:lnTo>
                  <a:pt x="100837" y="274065"/>
                </a:lnTo>
                <a:lnTo>
                  <a:pt x="147193" y="238760"/>
                </a:lnTo>
                <a:lnTo>
                  <a:pt x="158369" y="231139"/>
                </a:lnTo>
                <a:lnTo>
                  <a:pt x="147574" y="215392"/>
                </a:lnTo>
                <a:close/>
              </a:path>
              <a:path w="1685289" h="352425">
                <a:moveTo>
                  <a:pt x="42037" y="299085"/>
                </a:moveTo>
                <a:lnTo>
                  <a:pt x="0" y="338582"/>
                </a:lnTo>
                <a:lnTo>
                  <a:pt x="13081" y="352425"/>
                </a:lnTo>
                <a:lnTo>
                  <a:pt x="55118" y="313055"/>
                </a:lnTo>
                <a:lnTo>
                  <a:pt x="42037" y="299085"/>
                </a:lnTo>
                <a:close/>
              </a:path>
            </a:pathLst>
          </a:custGeom>
          <a:solidFill>
            <a:srgbClr val="A6A6A6"/>
          </a:solidFill>
          <a:ln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7171E72E-AE84-4153-BE9B-2602EDA2E595}"/>
              </a:ext>
            </a:extLst>
          </p:cNvPr>
          <p:cNvGrpSpPr/>
          <p:nvPr/>
        </p:nvGrpSpPr>
        <p:grpSpPr>
          <a:xfrm>
            <a:off x="1949868" y="2931519"/>
            <a:ext cx="1391579" cy="1248063"/>
            <a:chOff x="2682578" y="3293298"/>
            <a:chExt cx="1360606" cy="1224343"/>
          </a:xfrm>
        </p:grpSpPr>
        <p:sp>
          <p:nvSpPr>
            <p:cNvPr id="69" name="object 17">
              <a:extLst>
                <a:ext uri="{FF2B5EF4-FFF2-40B4-BE49-F238E27FC236}">
                  <a16:creationId xmlns:a16="http://schemas.microsoft.com/office/drawing/2014/main" id="{99497F66-8F31-42B3-8E73-8947A452376A}"/>
                </a:ext>
              </a:extLst>
            </p:cNvPr>
            <p:cNvSpPr/>
            <p:nvPr/>
          </p:nvSpPr>
          <p:spPr>
            <a:xfrm>
              <a:off x="2751325" y="3356273"/>
              <a:ext cx="1041190" cy="1161368"/>
            </a:xfrm>
            <a:custGeom>
              <a:avLst/>
              <a:gdLst/>
              <a:ahLst/>
              <a:cxnLst/>
              <a:rect l="l" t="t" r="r" b="b"/>
              <a:pathLst>
                <a:path w="1259839" h="1405254">
                  <a:moveTo>
                    <a:pt x="556132" y="0"/>
                  </a:moveTo>
                  <a:lnTo>
                    <a:pt x="604293" y="1620"/>
                  </a:lnTo>
                  <a:lnTo>
                    <a:pt x="651582" y="6414"/>
                  </a:lnTo>
                  <a:lnTo>
                    <a:pt x="697894" y="14274"/>
                  </a:lnTo>
                  <a:lnTo>
                    <a:pt x="743124" y="25098"/>
                  </a:lnTo>
                  <a:lnTo>
                    <a:pt x="787169" y="38780"/>
                  </a:lnTo>
                  <a:lnTo>
                    <a:pt x="829923" y="55215"/>
                  </a:lnTo>
                  <a:lnTo>
                    <a:pt x="871281" y="74299"/>
                  </a:lnTo>
                  <a:lnTo>
                    <a:pt x="911140" y="95927"/>
                  </a:lnTo>
                  <a:lnTo>
                    <a:pt x="949394" y="119994"/>
                  </a:lnTo>
                  <a:lnTo>
                    <a:pt x="985938" y="146397"/>
                  </a:lnTo>
                  <a:lnTo>
                    <a:pt x="1020669" y="175029"/>
                  </a:lnTo>
                  <a:lnTo>
                    <a:pt x="1053480" y="205787"/>
                  </a:lnTo>
                  <a:lnTo>
                    <a:pt x="1084269" y="238566"/>
                  </a:lnTo>
                  <a:lnTo>
                    <a:pt x="1112929" y="273261"/>
                  </a:lnTo>
                  <a:lnTo>
                    <a:pt x="1139356" y="309767"/>
                  </a:lnTo>
                  <a:lnTo>
                    <a:pt x="1163447" y="347980"/>
                  </a:lnTo>
                  <a:lnTo>
                    <a:pt x="1185094" y="387794"/>
                  </a:lnTo>
                  <a:lnTo>
                    <a:pt x="1204196" y="429107"/>
                  </a:lnTo>
                  <a:lnTo>
                    <a:pt x="1220645" y="471812"/>
                  </a:lnTo>
                  <a:lnTo>
                    <a:pt x="1234339" y="515805"/>
                  </a:lnTo>
                  <a:lnTo>
                    <a:pt x="1245172" y="560981"/>
                  </a:lnTo>
                  <a:lnTo>
                    <a:pt x="1253039" y="607236"/>
                  </a:lnTo>
                  <a:lnTo>
                    <a:pt x="1257836" y="654465"/>
                  </a:lnTo>
                  <a:lnTo>
                    <a:pt x="1259459" y="702563"/>
                  </a:lnTo>
                  <a:lnTo>
                    <a:pt x="1257836" y="750662"/>
                  </a:lnTo>
                  <a:lnTo>
                    <a:pt x="1253039" y="797891"/>
                  </a:lnTo>
                  <a:lnTo>
                    <a:pt x="1245172" y="844146"/>
                  </a:lnTo>
                  <a:lnTo>
                    <a:pt x="1234339" y="889322"/>
                  </a:lnTo>
                  <a:lnTo>
                    <a:pt x="1220645" y="933315"/>
                  </a:lnTo>
                  <a:lnTo>
                    <a:pt x="1204196" y="976020"/>
                  </a:lnTo>
                  <a:lnTo>
                    <a:pt x="1185094" y="1017333"/>
                  </a:lnTo>
                  <a:lnTo>
                    <a:pt x="1163447" y="1057147"/>
                  </a:lnTo>
                  <a:lnTo>
                    <a:pt x="1139356" y="1095360"/>
                  </a:lnTo>
                  <a:lnTo>
                    <a:pt x="1112929" y="1131866"/>
                  </a:lnTo>
                  <a:lnTo>
                    <a:pt x="1084269" y="1166561"/>
                  </a:lnTo>
                  <a:lnTo>
                    <a:pt x="1053480" y="1199340"/>
                  </a:lnTo>
                  <a:lnTo>
                    <a:pt x="1020669" y="1230098"/>
                  </a:lnTo>
                  <a:lnTo>
                    <a:pt x="985938" y="1258730"/>
                  </a:lnTo>
                  <a:lnTo>
                    <a:pt x="949394" y="1285133"/>
                  </a:lnTo>
                  <a:lnTo>
                    <a:pt x="911140" y="1309200"/>
                  </a:lnTo>
                  <a:lnTo>
                    <a:pt x="871281" y="1330828"/>
                  </a:lnTo>
                  <a:lnTo>
                    <a:pt x="829923" y="1349912"/>
                  </a:lnTo>
                  <a:lnTo>
                    <a:pt x="787169" y="1366347"/>
                  </a:lnTo>
                  <a:lnTo>
                    <a:pt x="743124" y="1380029"/>
                  </a:lnTo>
                  <a:lnTo>
                    <a:pt x="697894" y="1390853"/>
                  </a:lnTo>
                  <a:lnTo>
                    <a:pt x="651582" y="1398713"/>
                  </a:lnTo>
                  <a:lnTo>
                    <a:pt x="604293" y="1403507"/>
                  </a:lnTo>
                  <a:lnTo>
                    <a:pt x="556132" y="1405128"/>
                  </a:lnTo>
                  <a:lnTo>
                    <a:pt x="506172" y="1403355"/>
                  </a:lnTo>
                  <a:lnTo>
                    <a:pt x="456808" y="1398092"/>
                  </a:lnTo>
                  <a:lnTo>
                    <a:pt x="408205" y="1389418"/>
                  </a:lnTo>
                  <a:lnTo>
                    <a:pt x="360525" y="1377414"/>
                  </a:lnTo>
                  <a:lnTo>
                    <a:pt x="313933" y="1362159"/>
                  </a:lnTo>
                  <a:lnTo>
                    <a:pt x="268593" y="1343733"/>
                  </a:lnTo>
                  <a:lnTo>
                    <a:pt x="224667" y="1322217"/>
                  </a:lnTo>
                  <a:lnTo>
                    <a:pt x="182321" y="1297691"/>
                  </a:lnTo>
                  <a:lnTo>
                    <a:pt x="141717" y="1270235"/>
                  </a:lnTo>
                  <a:lnTo>
                    <a:pt x="103019" y="1239929"/>
                  </a:lnTo>
                  <a:lnTo>
                    <a:pt x="66391" y="1206853"/>
                  </a:lnTo>
                  <a:lnTo>
                    <a:pt x="31997" y="1171088"/>
                  </a:lnTo>
                  <a:lnTo>
                    <a:pt x="0" y="1132713"/>
                  </a:lnTo>
                </a:path>
              </a:pathLst>
            </a:custGeom>
            <a:ln w="15240">
              <a:solidFill>
                <a:schemeClr val="tx2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70" name="object 18">
              <a:extLst>
                <a:ext uri="{FF2B5EF4-FFF2-40B4-BE49-F238E27FC236}">
                  <a16:creationId xmlns:a16="http://schemas.microsoft.com/office/drawing/2014/main" id="{E615B8EE-83EA-413D-9F76-7321012B6A49}"/>
                </a:ext>
              </a:extLst>
            </p:cNvPr>
            <p:cNvSpPr/>
            <p:nvPr/>
          </p:nvSpPr>
          <p:spPr>
            <a:xfrm>
              <a:off x="2682578" y="3409172"/>
              <a:ext cx="1056934" cy="1055884"/>
            </a:xfrm>
            <a:custGeom>
              <a:avLst/>
              <a:gdLst/>
              <a:ahLst/>
              <a:cxnLst/>
              <a:rect l="l" t="t" r="r" b="b"/>
              <a:pathLst>
                <a:path w="1278889" h="1277620">
                  <a:moveTo>
                    <a:pt x="639317" y="0"/>
                  </a:moveTo>
                  <a:lnTo>
                    <a:pt x="687027" y="1751"/>
                  </a:lnTo>
                  <a:lnTo>
                    <a:pt x="733785" y="6923"/>
                  </a:lnTo>
                  <a:lnTo>
                    <a:pt x="779468" y="15392"/>
                  </a:lnTo>
                  <a:lnTo>
                    <a:pt x="823952" y="27034"/>
                  </a:lnTo>
                  <a:lnTo>
                    <a:pt x="867112" y="41727"/>
                  </a:lnTo>
                  <a:lnTo>
                    <a:pt x="908827" y="59346"/>
                  </a:lnTo>
                  <a:lnTo>
                    <a:pt x="948971" y="79769"/>
                  </a:lnTo>
                  <a:lnTo>
                    <a:pt x="987422" y="102871"/>
                  </a:lnTo>
                  <a:lnTo>
                    <a:pt x="1024055" y="128530"/>
                  </a:lnTo>
                  <a:lnTo>
                    <a:pt x="1058747" y="156622"/>
                  </a:lnTo>
                  <a:lnTo>
                    <a:pt x="1091374" y="187023"/>
                  </a:lnTo>
                  <a:lnTo>
                    <a:pt x="1121813" y="219610"/>
                  </a:lnTo>
                  <a:lnTo>
                    <a:pt x="1149940" y="254260"/>
                  </a:lnTo>
                  <a:lnTo>
                    <a:pt x="1175631" y="290849"/>
                  </a:lnTo>
                  <a:lnTo>
                    <a:pt x="1198763" y="329253"/>
                  </a:lnTo>
                  <a:lnTo>
                    <a:pt x="1219212" y="369350"/>
                  </a:lnTo>
                  <a:lnTo>
                    <a:pt x="1236854" y="411016"/>
                  </a:lnTo>
                  <a:lnTo>
                    <a:pt x="1251565" y="454127"/>
                  </a:lnTo>
                  <a:lnTo>
                    <a:pt x="1263223" y="498560"/>
                  </a:lnTo>
                  <a:lnTo>
                    <a:pt x="1271703" y="544191"/>
                  </a:lnTo>
                  <a:lnTo>
                    <a:pt x="1276882" y="590898"/>
                  </a:lnTo>
                  <a:lnTo>
                    <a:pt x="1278636" y="638555"/>
                  </a:lnTo>
                  <a:lnTo>
                    <a:pt x="1276882" y="686213"/>
                  </a:lnTo>
                  <a:lnTo>
                    <a:pt x="1271703" y="732920"/>
                  </a:lnTo>
                  <a:lnTo>
                    <a:pt x="1263223" y="778551"/>
                  </a:lnTo>
                  <a:lnTo>
                    <a:pt x="1251565" y="822984"/>
                  </a:lnTo>
                  <a:lnTo>
                    <a:pt x="1236854" y="866095"/>
                  </a:lnTo>
                  <a:lnTo>
                    <a:pt x="1219212" y="907761"/>
                  </a:lnTo>
                  <a:lnTo>
                    <a:pt x="1198763" y="947858"/>
                  </a:lnTo>
                  <a:lnTo>
                    <a:pt x="1175631" y="986262"/>
                  </a:lnTo>
                  <a:lnTo>
                    <a:pt x="1149940" y="1022851"/>
                  </a:lnTo>
                  <a:lnTo>
                    <a:pt x="1121813" y="1057501"/>
                  </a:lnTo>
                  <a:lnTo>
                    <a:pt x="1091374" y="1090088"/>
                  </a:lnTo>
                  <a:lnTo>
                    <a:pt x="1058747" y="1120489"/>
                  </a:lnTo>
                  <a:lnTo>
                    <a:pt x="1024055" y="1148581"/>
                  </a:lnTo>
                  <a:lnTo>
                    <a:pt x="987422" y="1174240"/>
                  </a:lnTo>
                  <a:lnTo>
                    <a:pt x="948971" y="1197342"/>
                  </a:lnTo>
                  <a:lnTo>
                    <a:pt x="908827" y="1217765"/>
                  </a:lnTo>
                  <a:lnTo>
                    <a:pt x="867112" y="1235384"/>
                  </a:lnTo>
                  <a:lnTo>
                    <a:pt x="823952" y="1250077"/>
                  </a:lnTo>
                  <a:lnTo>
                    <a:pt x="779468" y="1261719"/>
                  </a:lnTo>
                  <a:lnTo>
                    <a:pt x="733785" y="1270188"/>
                  </a:lnTo>
                  <a:lnTo>
                    <a:pt x="687027" y="1275360"/>
                  </a:lnTo>
                  <a:lnTo>
                    <a:pt x="639317" y="1277112"/>
                  </a:lnTo>
                  <a:lnTo>
                    <a:pt x="591608" y="1275360"/>
                  </a:lnTo>
                  <a:lnTo>
                    <a:pt x="544850" y="1270188"/>
                  </a:lnTo>
                  <a:lnTo>
                    <a:pt x="499167" y="1261719"/>
                  </a:lnTo>
                  <a:lnTo>
                    <a:pt x="454683" y="1250077"/>
                  </a:lnTo>
                  <a:lnTo>
                    <a:pt x="411523" y="1235384"/>
                  </a:lnTo>
                  <a:lnTo>
                    <a:pt x="369808" y="1217765"/>
                  </a:lnTo>
                  <a:lnTo>
                    <a:pt x="329664" y="1197342"/>
                  </a:lnTo>
                  <a:lnTo>
                    <a:pt x="291213" y="1174240"/>
                  </a:lnTo>
                  <a:lnTo>
                    <a:pt x="254580" y="1148581"/>
                  </a:lnTo>
                  <a:lnTo>
                    <a:pt x="219888" y="1120489"/>
                  </a:lnTo>
                  <a:lnTo>
                    <a:pt x="187261" y="1090088"/>
                  </a:lnTo>
                  <a:lnTo>
                    <a:pt x="156822" y="1057501"/>
                  </a:lnTo>
                  <a:lnTo>
                    <a:pt x="128695" y="1022851"/>
                  </a:lnTo>
                  <a:lnTo>
                    <a:pt x="103004" y="986262"/>
                  </a:lnTo>
                  <a:lnTo>
                    <a:pt x="79872" y="947858"/>
                  </a:lnTo>
                  <a:lnTo>
                    <a:pt x="59423" y="907761"/>
                  </a:lnTo>
                  <a:lnTo>
                    <a:pt x="41781" y="866095"/>
                  </a:lnTo>
                  <a:lnTo>
                    <a:pt x="27070" y="822984"/>
                  </a:lnTo>
                  <a:lnTo>
                    <a:pt x="15412" y="778551"/>
                  </a:lnTo>
                  <a:lnTo>
                    <a:pt x="6932" y="732920"/>
                  </a:lnTo>
                  <a:lnTo>
                    <a:pt x="1753" y="686213"/>
                  </a:lnTo>
                  <a:lnTo>
                    <a:pt x="0" y="638555"/>
                  </a:lnTo>
                  <a:lnTo>
                    <a:pt x="2217" y="585401"/>
                  </a:lnTo>
                  <a:lnTo>
                    <a:pt x="8812" y="532886"/>
                  </a:lnTo>
                  <a:lnTo>
                    <a:pt x="19696" y="481266"/>
                  </a:lnTo>
                  <a:lnTo>
                    <a:pt x="34782" y="430799"/>
                  </a:lnTo>
                  <a:lnTo>
                    <a:pt x="53981" y="381744"/>
                  </a:lnTo>
                  <a:lnTo>
                    <a:pt x="77206" y="334357"/>
                  </a:lnTo>
                  <a:lnTo>
                    <a:pt x="104368" y="288895"/>
                  </a:lnTo>
                  <a:lnTo>
                    <a:pt x="135382" y="245617"/>
                  </a:lnTo>
                </a:path>
              </a:pathLst>
            </a:custGeom>
            <a:ln w="15240">
              <a:solidFill>
                <a:schemeClr val="tx2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71" name="object 19">
              <a:extLst>
                <a:ext uri="{FF2B5EF4-FFF2-40B4-BE49-F238E27FC236}">
                  <a16:creationId xmlns:a16="http://schemas.microsoft.com/office/drawing/2014/main" id="{FF8D2608-8DB5-41A9-AF01-45B2A07D0E21}"/>
                </a:ext>
              </a:extLst>
            </p:cNvPr>
            <p:cNvSpPr/>
            <p:nvPr/>
          </p:nvSpPr>
          <p:spPr>
            <a:xfrm>
              <a:off x="3215348" y="3293298"/>
              <a:ext cx="638674" cy="894773"/>
            </a:xfrm>
            <a:custGeom>
              <a:avLst/>
              <a:gdLst/>
              <a:ahLst/>
              <a:cxnLst/>
              <a:rect l="l" t="t" r="r" b="b"/>
              <a:pathLst>
                <a:path w="772795" h="1082675">
                  <a:moveTo>
                    <a:pt x="0" y="0"/>
                  </a:moveTo>
                  <a:lnTo>
                    <a:pt x="48863" y="1521"/>
                  </a:lnTo>
                  <a:lnTo>
                    <a:pt x="96919" y="6026"/>
                  </a:lnTo>
                  <a:lnTo>
                    <a:pt x="144077" y="13424"/>
                  </a:lnTo>
                  <a:lnTo>
                    <a:pt x="190246" y="23624"/>
                  </a:lnTo>
                  <a:lnTo>
                    <a:pt x="235337" y="36535"/>
                  </a:lnTo>
                  <a:lnTo>
                    <a:pt x="279258" y="52067"/>
                  </a:lnTo>
                  <a:lnTo>
                    <a:pt x="321919" y="70128"/>
                  </a:lnTo>
                  <a:lnTo>
                    <a:pt x="363229" y="90629"/>
                  </a:lnTo>
                  <a:lnTo>
                    <a:pt x="403098" y="113479"/>
                  </a:lnTo>
                  <a:lnTo>
                    <a:pt x="441436" y="138587"/>
                  </a:lnTo>
                  <a:lnTo>
                    <a:pt x="478151" y="165862"/>
                  </a:lnTo>
                  <a:lnTo>
                    <a:pt x="513154" y="195214"/>
                  </a:lnTo>
                  <a:lnTo>
                    <a:pt x="546354" y="226552"/>
                  </a:lnTo>
                  <a:lnTo>
                    <a:pt x="577659" y="259785"/>
                  </a:lnTo>
                  <a:lnTo>
                    <a:pt x="606981" y="294823"/>
                  </a:lnTo>
                  <a:lnTo>
                    <a:pt x="634228" y="331575"/>
                  </a:lnTo>
                  <a:lnTo>
                    <a:pt x="659309" y="369951"/>
                  </a:lnTo>
                  <a:lnTo>
                    <a:pt x="682135" y="409859"/>
                  </a:lnTo>
                  <a:lnTo>
                    <a:pt x="702614" y="451210"/>
                  </a:lnTo>
                  <a:lnTo>
                    <a:pt x="720657" y="493912"/>
                  </a:lnTo>
                  <a:lnTo>
                    <a:pt x="736172" y="537875"/>
                  </a:lnTo>
                  <a:lnTo>
                    <a:pt x="749069" y="583008"/>
                  </a:lnTo>
                  <a:lnTo>
                    <a:pt x="759257" y="629221"/>
                  </a:lnTo>
                  <a:lnTo>
                    <a:pt x="766647" y="676422"/>
                  </a:lnTo>
                  <a:lnTo>
                    <a:pt x="771147" y="724522"/>
                  </a:lnTo>
                  <a:lnTo>
                    <a:pt x="772668" y="773430"/>
                  </a:lnTo>
                  <a:lnTo>
                    <a:pt x="770853" y="826453"/>
                  </a:lnTo>
                  <a:lnTo>
                    <a:pt x="765433" y="879103"/>
                  </a:lnTo>
                  <a:lnTo>
                    <a:pt x="756443" y="931195"/>
                  </a:lnTo>
                  <a:lnTo>
                    <a:pt x="743918" y="982547"/>
                  </a:lnTo>
                  <a:lnTo>
                    <a:pt x="727894" y="1032974"/>
                  </a:lnTo>
                  <a:lnTo>
                    <a:pt x="708406" y="1082294"/>
                  </a:lnTo>
                </a:path>
              </a:pathLst>
            </a:custGeom>
            <a:ln w="15240">
              <a:solidFill>
                <a:schemeClr val="tx2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72" name="object 40">
              <a:extLst>
                <a:ext uri="{FF2B5EF4-FFF2-40B4-BE49-F238E27FC236}">
                  <a16:creationId xmlns:a16="http://schemas.microsoft.com/office/drawing/2014/main" id="{B1826CC3-E8D5-4E38-BB66-356ED741FA26}"/>
                </a:ext>
              </a:extLst>
            </p:cNvPr>
            <p:cNvSpPr/>
            <p:nvPr/>
          </p:nvSpPr>
          <p:spPr>
            <a:xfrm>
              <a:off x="2748701" y="3466480"/>
              <a:ext cx="934657" cy="934657"/>
            </a:xfrm>
            <a:custGeom>
              <a:avLst/>
              <a:gdLst/>
              <a:ahLst/>
              <a:cxnLst/>
              <a:rect l="l" t="t" r="r" b="b"/>
              <a:pathLst>
                <a:path w="1130935" h="1130935">
                  <a:moveTo>
                    <a:pt x="565403" y="0"/>
                  </a:moveTo>
                  <a:lnTo>
                    <a:pt x="516614" y="2075"/>
                  </a:lnTo>
                  <a:lnTo>
                    <a:pt x="468978" y="8187"/>
                  </a:lnTo>
                  <a:lnTo>
                    <a:pt x="422665" y="18167"/>
                  </a:lnTo>
                  <a:lnTo>
                    <a:pt x="377844" y="31845"/>
                  </a:lnTo>
                  <a:lnTo>
                    <a:pt x="334686" y="49051"/>
                  </a:lnTo>
                  <a:lnTo>
                    <a:pt x="293360" y="69615"/>
                  </a:lnTo>
                  <a:lnTo>
                    <a:pt x="254034" y="93369"/>
                  </a:lnTo>
                  <a:lnTo>
                    <a:pt x="216881" y="120142"/>
                  </a:lnTo>
                  <a:lnTo>
                    <a:pt x="182067" y="149765"/>
                  </a:lnTo>
                  <a:lnTo>
                    <a:pt x="149765" y="182067"/>
                  </a:lnTo>
                  <a:lnTo>
                    <a:pt x="120142" y="216881"/>
                  </a:lnTo>
                  <a:lnTo>
                    <a:pt x="93369" y="254034"/>
                  </a:lnTo>
                  <a:lnTo>
                    <a:pt x="69615" y="293360"/>
                  </a:lnTo>
                  <a:lnTo>
                    <a:pt x="49051" y="334686"/>
                  </a:lnTo>
                  <a:lnTo>
                    <a:pt x="31845" y="377844"/>
                  </a:lnTo>
                  <a:lnTo>
                    <a:pt x="18167" y="422665"/>
                  </a:lnTo>
                  <a:lnTo>
                    <a:pt x="8187" y="468978"/>
                  </a:lnTo>
                  <a:lnTo>
                    <a:pt x="2075" y="516614"/>
                  </a:lnTo>
                  <a:lnTo>
                    <a:pt x="0" y="565404"/>
                  </a:lnTo>
                  <a:lnTo>
                    <a:pt x="2075" y="614193"/>
                  </a:lnTo>
                  <a:lnTo>
                    <a:pt x="8187" y="661829"/>
                  </a:lnTo>
                  <a:lnTo>
                    <a:pt x="18167" y="708142"/>
                  </a:lnTo>
                  <a:lnTo>
                    <a:pt x="31845" y="752963"/>
                  </a:lnTo>
                  <a:lnTo>
                    <a:pt x="49051" y="796121"/>
                  </a:lnTo>
                  <a:lnTo>
                    <a:pt x="69615" y="837447"/>
                  </a:lnTo>
                  <a:lnTo>
                    <a:pt x="93369" y="876773"/>
                  </a:lnTo>
                  <a:lnTo>
                    <a:pt x="120142" y="913926"/>
                  </a:lnTo>
                  <a:lnTo>
                    <a:pt x="149765" y="948740"/>
                  </a:lnTo>
                  <a:lnTo>
                    <a:pt x="182067" y="981042"/>
                  </a:lnTo>
                  <a:lnTo>
                    <a:pt x="216881" y="1010665"/>
                  </a:lnTo>
                  <a:lnTo>
                    <a:pt x="254034" y="1037438"/>
                  </a:lnTo>
                  <a:lnTo>
                    <a:pt x="293360" y="1061192"/>
                  </a:lnTo>
                  <a:lnTo>
                    <a:pt x="334686" y="1081756"/>
                  </a:lnTo>
                  <a:lnTo>
                    <a:pt x="377844" y="1098962"/>
                  </a:lnTo>
                  <a:lnTo>
                    <a:pt x="422665" y="1112640"/>
                  </a:lnTo>
                  <a:lnTo>
                    <a:pt x="468978" y="1122620"/>
                  </a:lnTo>
                  <a:lnTo>
                    <a:pt x="516614" y="1128732"/>
                  </a:lnTo>
                  <a:lnTo>
                    <a:pt x="565403" y="1130808"/>
                  </a:lnTo>
                  <a:lnTo>
                    <a:pt x="614193" y="1128732"/>
                  </a:lnTo>
                  <a:lnTo>
                    <a:pt x="661829" y="1122620"/>
                  </a:lnTo>
                  <a:lnTo>
                    <a:pt x="708142" y="1112640"/>
                  </a:lnTo>
                  <a:lnTo>
                    <a:pt x="752963" y="1098962"/>
                  </a:lnTo>
                  <a:lnTo>
                    <a:pt x="796121" y="1081756"/>
                  </a:lnTo>
                  <a:lnTo>
                    <a:pt x="837447" y="1061192"/>
                  </a:lnTo>
                  <a:lnTo>
                    <a:pt x="876773" y="1037438"/>
                  </a:lnTo>
                  <a:lnTo>
                    <a:pt x="913926" y="1010665"/>
                  </a:lnTo>
                  <a:lnTo>
                    <a:pt x="948740" y="981042"/>
                  </a:lnTo>
                  <a:lnTo>
                    <a:pt x="981042" y="948740"/>
                  </a:lnTo>
                  <a:lnTo>
                    <a:pt x="1010665" y="913926"/>
                  </a:lnTo>
                  <a:lnTo>
                    <a:pt x="1037438" y="876773"/>
                  </a:lnTo>
                  <a:lnTo>
                    <a:pt x="1061192" y="837447"/>
                  </a:lnTo>
                  <a:lnTo>
                    <a:pt x="1081756" y="796121"/>
                  </a:lnTo>
                  <a:lnTo>
                    <a:pt x="1098962" y="752963"/>
                  </a:lnTo>
                  <a:lnTo>
                    <a:pt x="1112640" y="708142"/>
                  </a:lnTo>
                  <a:lnTo>
                    <a:pt x="1122620" y="661829"/>
                  </a:lnTo>
                  <a:lnTo>
                    <a:pt x="1128732" y="614193"/>
                  </a:lnTo>
                  <a:lnTo>
                    <a:pt x="1130807" y="565404"/>
                  </a:lnTo>
                  <a:lnTo>
                    <a:pt x="1128732" y="516614"/>
                  </a:lnTo>
                  <a:lnTo>
                    <a:pt x="1122620" y="468978"/>
                  </a:lnTo>
                  <a:lnTo>
                    <a:pt x="1112640" y="422665"/>
                  </a:lnTo>
                  <a:lnTo>
                    <a:pt x="1098962" y="377844"/>
                  </a:lnTo>
                  <a:lnTo>
                    <a:pt x="1081756" y="334686"/>
                  </a:lnTo>
                  <a:lnTo>
                    <a:pt x="1061192" y="293360"/>
                  </a:lnTo>
                  <a:lnTo>
                    <a:pt x="1037438" y="254034"/>
                  </a:lnTo>
                  <a:lnTo>
                    <a:pt x="1010665" y="216881"/>
                  </a:lnTo>
                  <a:lnTo>
                    <a:pt x="981042" y="182067"/>
                  </a:lnTo>
                  <a:lnTo>
                    <a:pt x="948740" y="149765"/>
                  </a:lnTo>
                  <a:lnTo>
                    <a:pt x="913926" y="120142"/>
                  </a:lnTo>
                  <a:lnTo>
                    <a:pt x="876773" y="93369"/>
                  </a:lnTo>
                  <a:lnTo>
                    <a:pt x="837447" y="69615"/>
                  </a:lnTo>
                  <a:lnTo>
                    <a:pt x="796121" y="49051"/>
                  </a:lnTo>
                  <a:lnTo>
                    <a:pt x="752963" y="31845"/>
                  </a:lnTo>
                  <a:lnTo>
                    <a:pt x="708142" y="18167"/>
                  </a:lnTo>
                  <a:lnTo>
                    <a:pt x="661829" y="8187"/>
                  </a:lnTo>
                  <a:lnTo>
                    <a:pt x="614193" y="2075"/>
                  </a:lnTo>
                  <a:lnTo>
                    <a:pt x="565403" y="0"/>
                  </a:lnTo>
                  <a:close/>
                </a:path>
              </a:pathLst>
            </a:custGeom>
            <a:solidFill>
              <a:srgbClr val="FFFFFF"/>
            </a:solidFill>
            <a:ln>
              <a:solidFill>
                <a:schemeClr val="bg2">
                  <a:lumMod val="75000"/>
                </a:schemeClr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73" name="object 41">
              <a:extLst>
                <a:ext uri="{FF2B5EF4-FFF2-40B4-BE49-F238E27FC236}">
                  <a16:creationId xmlns:a16="http://schemas.microsoft.com/office/drawing/2014/main" id="{B4075393-C164-4127-A724-6ADAB2E609A5}"/>
                </a:ext>
              </a:extLst>
            </p:cNvPr>
            <p:cNvSpPr/>
            <p:nvPr/>
          </p:nvSpPr>
          <p:spPr>
            <a:xfrm>
              <a:off x="2748701" y="3466480"/>
              <a:ext cx="934657" cy="934657"/>
            </a:xfrm>
            <a:custGeom>
              <a:avLst/>
              <a:gdLst/>
              <a:ahLst/>
              <a:cxnLst/>
              <a:rect l="l" t="t" r="r" b="b"/>
              <a:pathLst>
                <a:path w="1130935" h="1130935">
                  <a:moveTo>
                    <a:pt x="0" y="565404"/>
                  </a:moveTo>
                  <a:lnTo>
                    <a:pt x="2075" y="516614"/>
                  </a:lnTo>
                  <a:lnTo>
                    <a:pt x="8187" y="468978"/>
                  </a:lnTo>
                  <a:lnTo>
                    <a:pt x="18167" y="422665"/>
                  </a:lnTo>
                  <a:lnTo>
                    <a:pt x="31845" y="377844"/>
                  </a:lnTo>
                  <a:lnTo>
                    <a:pt x="49051" y="334686"/>
                  </a:lnTo>
                  <a:lnTo>
                    <a:pt x="69615" y="293360"/>
                  </a:lnTo>
                  <a:lnTo>
                    <a:pt x="93369" y="254034"/>
                  </a:lnTo>
                  <a:lnTo>
                    <a:pt x="120142" y="216881"/>
                  </a:lnTo>
                  <a:lnTo>
                    <a:pt x="149765" y="182067"/>
                  </a:lnTo>
                  <a:lnTo>
                    <a:pt x="182067" y="149765"/>
                  </a:lnTo>
                  <a:lnTo>
                    <a:pt x="216881" y="120142"/>
                  </a:lnTo>
                  <a:lnTo>
                    <a:pt x="254034" y="93369"/>
                  </a:lnTo>
                  <a:lnTo>
                    <a:pt x="293360" y="69615"/>
                  </a:lnTo>
                  <a:lnTo>
                    <a:pt x="334686" y="49051"/>
                  </a:lnTo>
                  <a:lnTo>
                    <a:pt x="377844" y="31845"/>
                  </a:lnTo>
                  <a:lnTo>
                    <a:pt x="422665" y="18167"/>
                  </a:lnTo>
                  <a:lnTo>
                    <a:pt x="468978" y="8187"/>
                  </a:lnTo>
                  <a:lnTo>
                    <a:pt x="516614" y="2075"/>
                  </a:lnTo>
                  <a:lnTo>
                    <a:pt x="565403" y="0"/>
                  </a:lnTo>
                  <a:lnTo>
                    <a:pt x="614193" y="2075"/>
                  </a:lnTo>
                  <a:lnTo>
                    <a:pt x="661829" y="8187"/>
                  </a:lnTo>
                  <a:lnTo>
                    <a:pt x="708142" y="18167"/>
                  </a:lnTo>
                  <a:lnTo>
                    <a:pt x="752963" y="31845"/>
                  </a:lnTo>
                  <a:lnTo>
                    <a:pt x="796121" y="49051"/>
                  </a:lnTo>
                  <a:lnTo>
                    <a:pt x="837447" y="69615"/>
                  </a:lnTo>
                  <a:lnTo>
                    <a:pt x="876773" y="93369"/>
                  </a:lnTo>
                  <a:lnTo>
                    <a:pt x="913926" y="120142"/>
                  </a:lnTo>
                  <a:lnTo>
                    <a:pt x="948740" y="149765"/>
                  </a:lnTo>
                  <a:lnTo>
                    <a:pt x="981042" y="182067"/>
                  </a:lnTo>
                  <a:lnTo>
                    <a:pt x="1010665" y="216881"/>
                  </a:lnTo>
                  <a:lnTo>
                    <a:pt x="1037438" y="254034"/>
                  </a:lnTo>
                  <a:lnTo>
                    <a:pt x="1061192" y="293360"/>
                  </a:lnTo>
                  <a:lnTo>
                    <a:pt x="1081756" y="334686"/>
                  </a:lnTo>
                  <a:lnTo>
                    <a:pt x="1098962" y="377844"/>
                  </a:lnTo>
                  <a:lnTo>
                    <a:pt x="1112640" y="422665"/>
                  </a:lnTo>
                  <a:lnTo>
                    <a:pt x="1122620" y="468978"/>
                  </a:lnTo>
                  <a:lnTo>
                    <a:pt x="1128732" y="516614"/>
                  </a:lnTo>
                  <a:lnTo>
                    <a:pt x="1130807" y="565404"/>
                  </a:lnTo>
                  <a:lnTo>
                    <a:pt x="1128732" y="614193"/>
                  </a:lnTo>
                  <a:lnTo>
                    <a:pt x="1122620" y="661829"/>
                  </a:lnTo>
                  <a:lnTo>
                    <a:pt x="1112640" y="708142"/>
                  </a:lnTo>
                  <a:lnTo>
                    <a:pt x="1098962" y="752963"/>
                  </a:lnTo>
                  <a:lnTo>
                    <a:pt x="1081756" y="796121"/>
                  </a:lnTo>
                  <a:lnTo>
                    <a:pt x="1061192" y="837447"/>
                  </a:lnTo>
                  <a:lnTo>
                    <a:pt x="1037438" y="876773"/>
                  </a:lnTo>
                  <a:lnTo>
                    <a:pt x="1010665" y="913926"/>
                  </a:lnTo>
                  <a:lnTo>
                    <a:pt x="981042" y="948740"/>
                  </a:lnTo>
                  <a:lnTo>
                    <a:pt x="948740" y="981042"/>
                  </a:lnTo>
                  <a:lnTo>
                    <a:pt x="913926" y="1010665"/>
                  </a:lnTo>
                  <a:lnTo>
                    <a:pt x="876773" y="1037438"/>
                  </a:lnTo>
                  <a:lnTo>
                    <a:pt x="837447" y="1061192"/>
                  </a:lnTo>
                  <a:lnTo>
                    <a:pt x="796121" y="1081756"/>
                  </a:lnTo>
                  <a:lnTo>
                    <a:pt x="752963" y="1098962"/>
                  </a:lnTo>
                  <a:lnTo>
                    <a:pt x="708142" y="1112640"/>
                  </a:lnTo>
                  <a:lnTo>
                    <a:pt x="661829" y="1122620"/>
                  </a:lnTo>
                  <a:lnTo>
                    <a:pt x="614193" y="1128732"/>
                  </a:lnTo>
                  <a:lnTo>
                    <a:pt x="565403" y="1130808"/>
                  </a:lnTo>
                  <a:lnTo>
                    <a:pt x="516614" y="1128732"/>
                  </a:lnTo>
                  <a:lnTo>
                    <a:pt x="468978" y="1122620"/>
                  </a:lnTo>
                  <a:lnTo>
                    <a:pt x="422665" y="1112640"/>
                  </a:lnTo>
                  <a:lnTo>
                    <a:pt x="377844" y="1098962"/>
                  </a:lnTo>
                  <a:lnTo>
                    <a:pt x="334686" y="1081756"/>
                  </a:lnTo>
                  <a:lnTo>
                    <a:pt x="293360" y="1061192"/>
                  </a:lnTo>
                  <a:lnTo>
                    <a:pt x="254034" y="1037438"/>
                  </a:lnTo>
                  <a:lnTo>
                    <a:pt x="216881" y="1010665"/>
                  </a:lnTo>
                  <a:lnTo>
                    <a:pt x="182067" y="981042"/>
                  </a:lnTo>
                  <a:lnTo>
                    <a:pt x="149765" y="948740"/>
                  </a:lnTo>
                  <a:lnTo>
                    <a:pt x="120142" y="913926"/>
                  </a:lnTo>
                  <a:lnTo>
                    <a:pt x="93369" y="876773"/>
                  </a:lnTo>
                  <a:lnTo>
                    <a:pt x="69615" y="837447"/>
                  </a:lnTo>
                  <a:lnTo>
                    <a:pt x="49051" y="796121"/>
                  </a:lnTo>
                  <a:lnTo>
                    <a:pt x="31845" y="752963"/>
                  </a:lnTo>
                  <a:lnTo>
                    <a:pt x="18167" y="708142"/>
                  </a:lnTo>
                  <a:lnTo>
                    <a:pt x="8187" y="661829"/>
                  </a:lnTo>
                  <a:lnTo>
                    <a:pt x="2075" y="614193"/>
                  </a:lnTo>
                  <a:lnTo>
                    <a:pt x="0" y="565404"/>
                  </a:lnTo>
                  <a:close/>
                </a:path>
              </a:pathLst>
            </a:custGeom>
            <a:ln w="15240">
              <a:solidFill>
                <a:schemeClr val="tx2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pic>
          <p:nvPicPr>
            <p:cNvPr id="74" name="Picture 73">
              <a:extLst>
                <a:ext uri="{FF2B5EF4-FFF2-40B4-BE49-F238E27FC236}">
                  <a16:creationId xmlns:a16="http://schemas.microsoft.com/office/drawing/2014/main" id="{77272E1A-9BCC-42DF-A1A0-AE06C7BF713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27336" y="3805834"/>
              <a:ext cx="267640" cy="364455"/>
            </a:xfrm>
            <a:prstGeom prst="rect">
              <a:avLst/>
            </a:prstGeom>
            <a:ln w="15240">
              <a:noFill/>
            </a:ln>
          </p:spPr>
        </p:pic>
        <p:sp>
          <p:nvSpPr>
            <p:cNvPr id="75" name="object 69">
              <a:extLst>
                <a:ext uri="{FF2B5EF4-FFF2-40B4-BE49-F238E27FC236}">
                  <a16:creationId xmlns:a16="http://schemas.microsoft.com/office/drawing/2014/main" id="{56205A8D-2B1C-4721-BF99-85C7A8729A0F}"/>
                </a:ext>
              </a:extLst>
            </p:cNvPr>
            <p:cNvSpPr/>
            <p:nvPr/>
          </p:nvSpPr>
          <p:spPr>
            <a:xfrm flipH="1">
              <a:off x="2801769" y="3792554"/>
              <a:ext cx="581679" cy="416122"/>
            </a:xfrm>
            <a:prstGeom prst="rect">
              <a:avLst/>
            </a:prstGeom>
            <a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a:blipFill>
            <a:ln>
              <a:noFill/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D6A842D4-376B-48F6-85F5-ED5151A89761}"/>
                </a:ext>
              </a:extLst>
            </p:cNvPr>
            <p:cNvSpPr txBox="1"/>
            <p:nvPr/>
          </p:nvSpPr>
          <p:spPr>
            <a:xfrm>
              <a:off x="2761036" y="3581025"/>
              <a:ext cx="1282148" cy="22644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 err="1">
                  <a:ln>
                    <a:noFill/>
                  </a:ln>
                  <a:solidFill>
                    <a:srgbClr val="0D347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Fagrekvirent</a:t>
              </a:r>
              <a:endPara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0D347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28" name="object 8">
            <a:extLst>
              <a:ext uri="{FF2B5EF4-FFF2-40B4-BE49-F238E27FC236}">
                <a16:creationId xmlns:a16="http://schemas.microsoft.com/office/drawing/2014/main" id="{1D02E8AB-996E-47F7-AAFD-15799EC911AB}"/>
              </a:ext>
            </a:extLst>
          </p:cNvPr>
          <p:cNvSpPr/>
          <p:nvPr/>
        </p:nvSpPr>
        <p:spPr>
          <a:xfrm>
            <a:off x="418557" y="2236614"/>
            <a:ext cx="189709" cy="538893"/>
          </a:xfrm>
          <a:prstGeom prst="rect">
            <a:avLst/>
          </a:prstGeom>
          <a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29" name="object 52">
            <a:extLst>
              <a:ext uri="{FF2B5EF4-FFF2-40B4-BE49-F238E27FC236}">
                <a16:creationId xmlns:a16="http://schemas.microsoft.com/office/drawing/2014/main" id="{4037DC2D-0845-48E7-AB4D-25602FBF0A97}"/>
              </a:ext>
            </a:extLst>
          </p:cNvPr>
          <p:cNvSpPr txBox="1"/>
          <p:nvPr/>
        </p:nvSpPr>
        <p:spPr>
          <a:xfrm>
            <a:off x="1406583" y="1772854"/>
            <a:ext cx="1394428" cy="42768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 lvl="0" indent="0" algn="ctr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-5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Sendes</a:t>
            </a:r>
            <a:r>
              <a:rPr kumimoji="0" lang="en-US" sz="900" b="0" i="0" u="none" strike="noStrike" kern="1200" cap="none" spc="-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 </a:t>
            </a:r>
            <a:r>
              <a:rPr kumimoji="0" lang="en-US" sz="900" b="0" i="0" u="none" strike="noStrike" kern="1200" cap="none" spc="-5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til</a:t>
            </a:r>
            <a:r>
              <a:rPr kumimoji="0" lang="en-US" sz="900" b="0" i="0" u="none" strike="noStrike" kern="1200" cap="none" spc="-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 </a:t>
            </a:r>
            <a:r>
              <a:rPr kumimoji="0" lang="en-US" sz="900" b="0" i="0" u="none" strike="noStrike" kern="1200" cap="none" spc="-5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Innkjøpergruppe</a:t>
            </a:r>
            <a:r>
              <a:rPr kumimoji="0" lang="en-US" sz="900" b="0" i="0" u="none" strike="noStrike" kern="1200" cap="none" spc="-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 (</a:t>
            </a:r>
            <a:r>
              <a:rPr kumimoji="0" lang="en-US" sz="900" b="0" i="0" u="none" strike="noStrike" kern="1200" cap="none" spc="-5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definert</a:t>
            </a:r>
            <a:r>
              <a:rPr kumimoji="0" lang="en-US" sz="900" b="0" i="0" u="none" strike="noStrike" kern="1200" cap="none" spc="-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 av </a:t>
            </a:r>
            <a:r>
              <a:rPr kumimoji="0" lang="en-US" sz="900" b="0" i="0" u="none" strike="noStrike" kern="1200" cap="none" spc="-5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koststed</a:t>
            </a:r>
            <a:r>
              <a:rPr kumimoji="0" lang="en-US" sz="900" b="0" i="0" u="none" strike="noStrike" kern="1200" cap="none" spc="-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)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69604043-73C5-45EE-ADDB-8DED7DD8813A}"/>
              </a:ext>
            </a:extLst>
          </p:cNvPr>
          <p:cNvGrpSpPr/>
          <p:nvPr/>
        </p:nvGrpSpPr>
        <p:grpSpPr>
          <a:xfrm>
            <a:off x="2862225" y="1255104"/>
            <a:ext cx="1350024" cy="1429828"/>
            <a:chOff x="4471223" y="2681586"/>
            <a:chExt cx="1500876" cy="1569373"/>
          </a:xfrm>
        </p:grpSpPr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3F9FA64F-5117-4943-AF6A-558E5945E856}"/>
                </a:ext>
              </a:extLst>
            </p:cNvPr>
            <p:cNvGrpSpPr/>
            <p:nvPr/>
          </p:nvGrpSpPr>
          <p:grpSpPr>
            <a:xfrm>
              <a:off x="4471223" y="2681586"/>
              <a:ext cx="1429599" cy="1569373"/>
              <a:chOff x="2320780" y="1682998"/>
              <a:chExt cx="1429599" cy="1569373"/>
            </a:xfrm>
          </p:grpSpPr>
          <p:grpSp>
            <p:nvGrpSpPr>
              <p:cNvPr id="61" name="Group 60">
                <a:extLst>
                  <a:ext uri="{FF2B5EF4-FFF2-40B4-BE49-F238E27FC236}">
                    <a16:creationId xmlns:a16="http://schemas.microsoft.com/office/drawing/2014/main" id="{C7B9BCDD-65E6-4075-811D-B516460059F0}"/>
                  </a:ext>
                </a:extLst>
              </p:cNvPr>
              <p:cNvGrpSpPr/>
              <p:nvPr/>
            </p:nvGrpSpPr>
            <p:grpSpPr>
              <a:xfrm>
                <a:off x="2320780" y="1682998"/>
                <a:ext cx="1171444" cy="1224343"/>
                <a:chOff x="3467100" y="1822704"/>
                <a:chExt cx="1417447" cy="1481455"/>
              </a:xfrm>
            </p:grpSpPr>
            <p:sp>
              <p:nvSpPr>
                <p:cNvPr id="64" name="object 17">
                  <a:extLst>
                    <a:ext uri="{FF2B5EF4-FFF2-40B4-BE49-F238E27FC236}">
                      <a16:creationId xmlns:a16="http://schemas.microsoft.com/office/drawing/2014/main" id="{2E36AB02-E7BB-4AFF-B5FA-42229FF9ED11}"/>
                    </a:ext>
                  </a:extLst>
                </p:cNvPr>
                <p:cNvSpPr/>
                <p:nvPr/>
              </p:nvSpPr>
              <p:spPr>
                <a:xfrm>
                  <a:off x="3550284" y="1898904"/>
                  <a:ext cx="1259840" cy="140525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59839" h="1405254">
                      <a:moveTo>
                        <a:pt x="556132" y="0"/>
                      </a:moveTo>
                      <a:lnTo>
                        <a:pt x="604293" y="1620"/>
                      </a:lnTo>
                      <a:lnTo>
                        <a:pt x="651582" y="6414"/>
                      </a:lnTo>
                      <a:lnTo>
                        <a:pt x="697894" y="14274"/>
                      </a:lnTo>
                      <a:lnTo>
                        <a:pt x="743124" y="25098"/>
                      </a:lnTo>
                      <a:lnTo>
                        <a:pt x="787169" y="38780"/>
                      </a:lnTo>
                      <a:lnTo>
                        <a:pt x="829923" y="55215"/>
                      </a:lnTo>
                      <a:lnTo>
                        <a:pt x="871281" y="74299"/>
                      </a:lnTo>
                      <a:lnTo>
                        <a:pt x="911140" y="95927"/>
                      </a:lnTo>
                      <a:lnTo>
                        <a:pt x="949394" y="119994"/>
                      </a:lnTo>
                      <a:lnTo>
                        <a:pt x="985938" y="146397"/>
                      </a:lnTo>
                      <a:lnTo>
                        <a:pt x="1020669" y="175029"/>
                      </a:lnTo>
                      <a:lnTo>
                        <a:pt x="1053480" y="205787"/>
                      </a:lnTo>
                      <a:lnTo>
                        <a:pt x="1084269" y="238566"/>
                      </a:lnTo>
                      <a:lnTo>
                        <a:pt x="1112929" y="273261"/>
                      </a:lnTo>
                      <a:lnTo>
                        <a:pt x="1139356" y="309767"/>
                      </a:lnTo>
                      <a:lnTo>
                        <a:pt x="1163447" y="347980"/>
                      </a:lnTo>
                      <a:lnTo>
                        <a:pt x="1185094" y="387794"/>
                      </a:lnTo>
                      <a:lnTo>
                        <a:pt x="1204196" y="429107"/>
                      </a:lnTo>
                      <a:lnTo>
                        <a:pt x="1220645" y="471812"/>
                      </a:lnTo>
                      <a:lnTo>
                        <a:pt x="1234339" y="515805"/>
                      </a:lnTo>
                      <a:lnTo>
                        <a:pt x="1245172" y="560981"/>
                      </a:lnTo>
                      <a:lnTo>
                        <a:pt x="1253039" y="607236"/>
                      </a:lnTo>
                      <a:lnTo>
                        <a:pt x="1257836" y="654465"/>
                      </a:lnTo>
                      <a:lnTo>
                        <a:pt x="1259459" y="702563"/>
                      </a:lnTo>
                      <a:lnTo>
                        <a:pt x="1257836" y="750662"/>
                      </a:lnTo>
                      <a:lnTo>
                        <a:pt x="1253039" y="797891"/>
                      </a:lnTo>
                      <a:lnTo>
                        <a:pt x="1245172" y="844146"/>
                      </a:lnTo>
                      <a:lnTo>
                        <a:pt x="1234339" y="889322"/>
                      </a:lnTo>
                      <a:lnTo>
                        <a:pt x="1220645" y="933315"/>
                      </a:lnTo>
                      <a:lnTo>
                        <a:pt x="1204196" y="976020"/>
                      </a:lnTo>
                      <a:lnTo>
                        <a:pt x="1185094" y="1017333"/>
                      </a:lnTo>
                      <a:lnTo>
                        <a:pt x="1163447" y="1057147"/>
                      </a:lnTo>
                      <a:lnTo>
                        <a:pt x="1139356" y="1095360"/>
                      </a:lnTo>
                      <a:lnTo>
                        <a:pt x="1112929" y="1131866"/>
                      </a:lnTo>
                      <a:lnTo>
                        <a:pt x="1084269" y="1166561"/>
                      </a:lnTo>
                      <a:lnTo>
                        <a:pt x="1053480" y="1199340"/>
                      </a:lnTo>
                      <a:lnTo>
                        <a:pt x="1020669" y="1230098"/>
                      </a:lnTo>
                      <a:lnTo>
                        <a:pt x="985938" y="1258730"/>
                      </a:lnTo>
                      <a:lnTo>
                        <a:pt x="949394" y="1285133"/>
                      </a:lnTo>
                      <a:lnTo>
                        <a:pt x="911140" y="1309200"/>
                      </a:lnTo>
                      <a:lnTo>
                        <a:pt x="871281" y="1330828"/>
                      </a:lnTo>
                      <a:lnTo>
                        <a:pt x="829923" y="1349912"/>
                      </a:lnTo>
                      <a:lnTo>
                        <a:pt x="787169" y="1366347"/>
                      </a:lnTo>
                      <a:lnTo>
                        <a:pt x="743124" y="1380029"/>
                      </a:lnTo>
                      <a:lnTo>
                        <a:pt x="697894" y="1390853"/>
                      </a:lnTo>
                      <a:lnTo>
                        <a:pt x="651582" y="1398713"/>
                      </a:lnTo>
                      <a:lnTo>
                        <a:pt x="604293" y="1403507"/>
                      </a:lnTo>
                      <a:lnTo>
                        <a:pt x="556132" y="1405128"/>
                      </a:lnTo>
                      <a:lnTo>
                        <a:pt x="506172" y="1403355"/>
                      </a:lnTo>
                      <a:lnTo>
                        <a:pt x="456808" y="1398092"/>
                      </a:lnTo>
                      <a:lnTo>
                        <a:pt x="408205" y="1389418"/>
                      </a:lnTo>
                      <a:lnTo>
                        <a:pt x="360525" y="1377414"/>
                      </a:lnTo>
                      <a:lnTo>
                        <a:pt x="313933" y="1362159"/>
                      </a:lnTo>
                      <a:lnTo>
                        <a:pt x="268593" y="1343733"/>
                      </a:lnTo>
                      <a:lnTo>
                        <a:pt x="224667" y="1322217"/>
                      </a:lnTo>
                      <a:lnTo>
                        <a:pt x="182321" y="1297691"/>
                      </a:lnTo>
                      <a:lnTo>
                        <a:pt x="141717" y="1270235"/>
                      </a:lnTo>
                      <a:lnTo>
                        <a:pt x="103019" y="1239929"/>
                      </a:lnTo>
                      <a:lnTo>
                        <a:pt x="66391" y="1206853"/>
                      </a:lnTo>
                      <a:lnTo>
                        <a:pt x="31997" y="1171088"/>
                      </a:lnTo>
                      <a:lnTo>
                        <a:pt x="0" y="1132713"/>
                      </a:lnTo>
                    </a:path>
                  </a:pathLst>
                </a:custGeom>
                <a:ln w="15240">
                  <a:solidFill>
                    <a:srgbClr val="A6A6A6"/>
                  </a:solidFill>
                </a:ln>
              </p:spPr>
              <p:txBody>
                <a:bodyPr wrap="square" lIns="0" tIns="0" rIns="0" bIns="0" rtlCol="0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900" b="0" i="0" u="none" strike="noStrike" kern="0" cap="none" spc="0" normalizeH="0" baseline="0" noProof="0">
                    <a:ln>
                      <a:noFill/>
                    </a:ln>
                    <a:solidFill>
                      <a:srgbClr val="5C5C5C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65" name="object 18">
                  <a:extLst>
                    <a:ext uri="{FF2B5EF4-FFF2-40B4-BE49-F238E27FC236}">
                      <a16:creationId xmlns:a16="http://schemas.microsoft.com/office/drawing/2014/main" id="{72347FB7-5C39-4B33-9A90-2E094F90D361}"/>
                    </a:ext>
                  </a:extLst>
                </p:cNvPr>
                <p:cNvSpPr/>
                <p:nvPr/>
              </p:nvSpPr>
              <p:spPr>
                <a:xfrm>
                  <a:off x="3467100" y="1962911"/>
                  <a:ext cx="1278890" cy="12776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78889" h="1277620">
                      <a:moveTo>
                        <a:pt x="639317" y="0"/>
                      </a:moveTo>
                      <a:lnTo>
                        <a:pt x="687027" y="1751"/>
                      </a:lnTo>
                      <a:lnTo>
                        <a:pt x="733785" y="6923"/>
                      </a:lnTo>
                      <a:lnTo>
                        <a:pt x="779468" y="15392"/>
                      </a:lnTo>
                      <a:lnTo>
                        <a:pt x="823952" y="27034"/>
                      </a:lnTo>
                      <a:lnTo>
                        <a:pt x="867112" y="41727"/>
                      </a:lnTo>
                      <a:lnTo>
                        <a:pt x="908827" y="59346"/>
                      </a:lnTo>
                      <a:lnTo>
                        <a:pt x="948971" y="79769"/>
                      </a:lnTo>
                      <a:lnTo>
                        <a:pt x="987422" y="102871"/>
                      </a:lnTo>
                      <a:lnTo>
                        <a:pt x="1024055" y="128530"/>
                      </a:lnTo>
                      <a:lnTo>
                        <a:pt x="1058747" y="156622"/>
                      </a:lnTo>
                      <a:lnTo>
                        <a:pt x="1091374" y="187023"/>
                      </a:lnTo>
                      <a:lnTo>
                        <a:pt x="1121813" y="219610"/>
                      </a:lnTo>
                      <a:lnTo>
                        <a:pt x="1149940" y="254260"/>
                      </a:lnTo>
                      <a:lnTo>
                        <a:pt x="1175631" y="290849"/>
                      </a:lnTo>
                      <a:lnTo>
                        <a:pt x="1198763" y="329253"/>
                      </a:lnTo>
                      <a:lnTo>
                        <a:pt x="1219212" y="369350"/>
                      </a:lnTo>
                      <a:lnTo>
                        <a:pt x="1236854" y="411016"/>
                      </a:lnTo>
                      <a:lnTo>
                        <a:pt x="1251565" y="454127"/>
                      </a:lnTo>
                      <a:lnTo>
                        <a:pt x="1263223" y="498560"/>
                      </a:lnTo>
                      <a:lnTo>
                        <a:pt x="1271703" y="544191"/>
                      </a:lnTo>
                      <a:lnTo>
                        <a:pt x="1276882" y="590898"/>
                      </a:lnTo>
                      <a:lnTo>
                        <a:pt x="1278636" y="638555"/>
                      </a:lnTo>
                      <a:lnTo>
                        <a:pt x="1276882" y="686213"/>
                      </a:lnTo>
                      <a:lnTo>
                        <a:pt x="1271703" y="732920"/>
                      </a:lnTo>
                      <a:lnTo>
                        <a:pt x="1263223" y="778551"/>
                      </a:lnTo>
                      <a:lnTo>
                        <a:pt x="1251565" y="822984"/>
                      </a:lnTo>
                      <a:lnTo>
                        <a:pt x="1236854" y="866095"/>
                      </a:lnTo>
                      <a:lnTo>
                        <a:pt x="1219212" y="907761"/>
                      </a:lnTo>
                      <a:lnTo>
                        <a:pt x="1198763" y="947858"/>
                      </a:lnTo>
                      <a:lnTo>
                        <a:pt x="1175631" y="986262"/>
                      </a:lnTo>
                      <a:lnTo>
                        <a:pt x="1149940" y="1022851"/>
                      </a:lnTo>
                      <a:lnTo>
                        <a:pt x="1121813" y="1057501"/>
                      </a:lnTo>
                      <a:lnTo>
                        <a:pt x="1091374" y="1090088"/>
                      </a:lnTo>
                      <a:lnTo>
                        <a:pt x="1058747" y="1120489"/>
                      </a:lnTo>
                      <a:lnTo>
                        <a:pt x="1024055" y="1148581"/>
                      </a:lnTo>
                      <a:lnTo>
                        <a:pt x="987422" y="1174240"/>
                      </a:lnTo>
                      <a:lnTo>
                        <a:pt x="948971" y="1197342"/>
                      </a:lnTo>
                      <a:lnTo>
                        <a:pt x="908827" y="1217765"/>
                      </a:lnTo>
                      <a:lnTo>
                        <a:pt x="867112" y="1235384"/>
                      </a:lnTo>
                      <a:lnTo>
                        <a:pt x="823952" y="1250077"/>
                      </a:lnTo>
                      <a:lnTo>
                        <a:pt x="779468" y="1261719"/>
                      </a:lnTo>
                      <a:lnTo>
                        <a:pt x="733785" y="1270188"/>
                      </a:lnTo>
                      <a:lnTo>
                        <a:pt x="687027" y="1275360"/>
                      </a:lnTo>
                      <a:lnTo>
                        <a:pt x="639317" y="1277112"/>
                      </a:lnTo>
                      <a:lnTo>
                        <a:pt x="591608" y="1275360"/>
                      </a:lnTo>
                      <a:lnTo>
                        <a:pt x="544850" y="1270188"/>
                      </a:lnTo>
                      <a:lnTo>
                        <a:pt x="499167" y="1261719"/>
                      </a:lnTo>
                      <a:lnTo>
                        <a:pt x="454683" y="1250077"/>
                      </a:lnTo>
                      <a:lnTo>
                        <a:pt x="411523" y="1235384"/>
                      </a:lnTo>
                      <a:lnTo>
                        <a:pt x="369808" y="1217765"/>
                      </a:lnTo>
                      <a:lnTo>
                        <a:pt x="329664" y="1197342"/>
                      </a:lnTo>
                      <a:lnTo>
                        <a:pt x="291213" y="1174240"/>
                      </a:lnTo>
                      <a:lnTo>
                        <a:pt x="254580" y="1148581"/>
                      </a:lnTo>
                      <a:lnTo>
                        <a:pt x="219888" y="1120489"/>
                      </a:lnTo>
                      <a:lnTo>
                        <a:pt x="187261" y="1090088"/>
                      </a:lnTo>
                      <a:lnTo>
                        <a:pt x="156822" y="1057501"/>
                      </a:lnTo>
                      <a:lnTo>
                        <a:pt x="128695" y="1022851"/>
                      </a:lnTo>
                      <a:lnTo>
                        <a:pt x="103004" y="986262"/>
                      </a:lnTo>
                      <a:lnTo>
                        <a:pt x="79872" y="947858"/>
                      </a:lnTo>
                      <a:lnTo>
                        <a:pt x="59423" y="907761"/>
                      </a:lnTo>
                      <a:lnTo>
                        <a:pt x="41781" y="866095"/>
                      </a:lnTo>
                      <a:lnTo>
                        <a:pt x="27070" y="822984"/>
                      </a:lnTo>
                      <a:lnTo>
                        <a:pt x="15412" y="778551"/>
                      </a:lnTo>
                      <a:lnTo>
                        <a:pt x="6932" y="732920"/>
                      </a:lnTo>
                      <a:lnTo>
                        <a:pt x="1753" y="686213"/>
                      </a:lnTo>
                      <a:lnTo>
                        <a:pt x="0" y="638555"/>
                      </a:lnTo>
                      <a:lnTo>
                        <a:pt x="2217" y="585401"/>
                      </a:lnTo>
                      <a:lnTo>
                        <a:pt x="8812" y="532886"/>
                      </a:lnTo>
                      <a:lnTo>
                        <a:pt x="19696" y="481266"/>
                      </a:lnTo>
                      <a:lnTo>
                        <a:pt x="34782" y="430799"/>
                      </a:lnTo>
                      <a:lnTo>
                        <a:pt x="53981" y="381744"/>
                      </a:lnTo>
                      <a:lnTo>
                        <a:pt x="77206" y="334357"/>
                      </a:lnTo>
                      <a:lnTo>
                        <a:pt x="104368" y="288895"/>
                      </a:lnTo>
                      <a:lnTo>
                        <a:pt x="135382" y="245617"/>
                      </a:lnTo>
                    </a:path>
                  </a:pathLst>
                </a:custGeom>
                <a:ln w="15240">
                  <a:solidFill>
                    <a:srgbClr val="A6A6A6"/>
                  </a:solidFill>
                </a:ln>
              </p:spPr>
              <p:txBody>
                <a:bodyPr wrap="square" lIns="0" tIns="0" rIns="0" bIns="0" rtlCol="0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900" b="0" i="0" u="none" strike="noStrike" kern="0" cap="none" spc="0" normalizeH="0" baseline="0" noProof="0">
                    <a:ln>
                      <a:noFill/>
                    </a:ln>
                    <a:solidFill>
                      <a:srgbClr val="5C5C5C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66" name="object 19">
                  <a:extLst>
                    <a:ext uri="{FF2B5EF4-FFF2-40B4-BE49-F238E27FC236}">
                      <a16:creationId xmlns:a16="http://schemas.microsoft.com/office/drawing/2014/main" id="{7F4E4D78-4975-4E74-91AB-EA1696C348D4}"/>
                    </a:ext>
                  </a:extLst>
                </p:cNvPr>
                <p:cNvSpPr/>
                <p:nvPr/>
              </p:nvSpPr>
              <p:spPr>
                <a:xfrm>
                  <a:off x="4111752" y="1822704"/>
                  <a:ext cx="772795" cy="10826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72795" h="1082675">
                      <a:moveTo>
                        <a:pt x="0" y="0"/>
                      </a:moveTo>
                      <a:lnTo>
                        <a:pt x="48863" y="1521"/>
                      </a:lnTo>
                      <a:lnTo>
                        <a:pt x="96919" y="6026"/>
                      </a:lnTo>
                      <a:lnTo>
                        <a:pt x="144077" y="13424"/>
                      </a:lnTo>
                      <a:lnTo>
                        <a:pt x="190246" y="23624"/>
                      </a:lnTo>
                      <a:lnTo>
                        <a:pt x="235337" y="36535"/>
                      </a:lnTo>
                      <a:lnTo>
                        <a:pt x="279258" y="52067"/>
                      </a:lnTo>
                      <a:lnTo>
                        <a:pt x="321919" y="70128"/>
                      </a:lnTo>
                      <a:lnTo>
                        <a:pt x="363229" y="90629"/>
                      </a:lnTo>
                      <a:lnTo>
                        <a:pt x="403098" y="113479"/>
                      </a:lnTo>
                      <a:lnTo>
                        <a:pt x="441436" y="138587"/>
                      </a:lnTo>
                      <a:lnTo>
                        <a:pt x="478151" y="165862"/>
                      </a:lnTo>
                      <a:lnTo>
                        <a:pt x="513154" y="195214"/>
                      </a:lnTo>
                      <a:lnTo>
                        <a:pt x="546354" y="226552"/>
                      </a:lnTo>
                      <a:lnTo>
                        <a:pt x="577659" y="259785"/>
                      </a:lnTo>
                      <a:lnTo>
                        <a:pt x="606981" y="294823"/>
                      </a:lnTo>
                      <a:lnTo>
                        <a:pt x="634228" y="331575"/>
                      </a:lnTo>
                      <a:lnTo>
                        <a:pt x="659309" y="369951"/>
                      </a:lnTo>
                      <a:lnTo>
                        <a:pt x="682135" y="409859"/>
                      </a:lnTo>
                      <a:lnTo>
                        <a:pt x="702614" y="451210"/>
                      </a:lnTo>
                      <a:lnTo>
                        <a:pt x="720657" y="493912"/>
                      </a:lnTo>
                      <a:lnTo>
                        <a:pt x="736172" y="537875"/>
                      </a:lnTo>
                      <a:lnTo>
                        <a:pt x="749069" y="583008"/>
                      </a:lnTo>
                      <a:lnTo>
                        <a:pt x="759257" y="629221"/>
                      </a:lnTo>
                      <a:lnTo>
                        <a:pt x="766647" y="676422"/>
                      </a:lnTo>
                      <a:lnTo>
                        <a:pt x="771147" y="724522"/>
                      </a:lnTo>
                      <a:lnTo>
                        <a:pt x="772668" y="773430"/>
                      </a:lnTo>
                      <a:lnTo>
                        <a:pt x="770853" y="826453"/>
                      </a:lnTo>
                      <a:lnTo>
                        <a:pt x="765433" y="879103"/>
                      </a:lnTo>
                      <a:lnTo>
                        <a:pt x="756443" y="931195"/>
                      </a:lnTo>
                      <a:lnTo>
                        <a:pt x="743918" y="982547"/>
                      </a:lnTo>
                      <a:lnTo>
                        <a:pt x="727894" y="1032974"/>
                      </a:lnTo>
                      <a:lnTo>
                        <a:pt x="708406" y="1082294"/>
                      </a:lnTo>
                    </a:path>
                  </a:pathLst>
                </a:custGeom>
                <a:ln w="15240">
                  <a:solidFill>
                    <a:srgbClr val="A6A6A6"/>
                  </a:solidFill>
                </a:ln>
              </p:spPr>
              <p:txBody>
                <a:bodyPr wrap="square" lIns="0" tIns="0" rIns="0" bIns="0" rtlCol="0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900" b="0" i="0" u="none" strike="noStrike" kern="0" cap="none" spc="0" normalizeH="0" baseline="0" noProof="0">
                    <a:ln>
                      <a:noFill/>
                    </a:ln>
                    <a:solidFill>
                      <a:srgbClr val="5C5C5C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67" name="object 40">
                  <a:extLst>
                    <a:ext uri="{FF2B5EF4-FFF2-40B4-BE49-F238E27FC236}">
                      <a16:creationId xmlns:a16="http://schemas.microsoft.com/office/drawing/2014/main" id="{3A623F1C-07A7-42E6-979B-7C08AA283CF1}"/>
                    </a:ext>
                  </a:extLst>
                </p:cNvPr>
                <p:cNvSpPr/>
                <p:nvPr/>
              </p:nvSpPr>
              <p:spPr>
                <a:xfrm>
                  <a:off x="3547109" y="2032254"/>
                  <a:ext cx="1130935" cy="113093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0935" h="1130935">
                      <a:moveTo>
                        <a:pt x="565403" y="0"/>
                      </a:moveTo>
                      <a:lnTo>
                        <a:pt x="516614" y="2075"/>
                      </a:lnTo>
                      <a:lnTo>
                        <a:pt x="468978" y="8187"/>
                      </a:lnTo>
                      <a:lnTo>
                        <a:pt x="422665" y="18167"/>
                      </a:lnTo>
                      <a:lnTo>
                        <a:pt x="377844" y="31845"/>
                      </a:lnTo>
                      <a:lnTo>
                        <a:pt x="334686" y="49051"/>
                      </a:lnTo>
                      <a:lnTo>
                        <a:pt x="293360" y="69615"/>
                      </a:lnTo>
                      <a:lnTo>
                        <a:pt x="254034" y="93369"/>
                      </a:lnTo>
                      <a:lnTo>
                        <a:pt x="216881" y="120142"/>
                      </a:lnTo>
                      <a:lnTo>
                        <a:pt x="182067" y="149765"/>
                      </a:lnTo>
                      <a:lnTo>
                        <a:pt x="149765" y="182067"/>
                      </a:lnTo>
                      <a:lnTo>
                        <a:pt x="120142" y="216881"/>
                      </a:lnTo>
                      <a:lnTo>
                        <a:pt x="93369" y="254034"/>
                      </a:lnTo>
                      <a:lnTo>
                        <a:pt x="69615" y="293360"/>
                      </a:lnTo>
                      <a:lnTo>
                        <a:pt x="49051" y="334686"/>
                      </a:lnTo>
                      <a:lnTo>
                        <a:pt x="31845" y="377844"/>
                      </a:lnTo>
                      <a:lnTo>
                        <a:pt x="18167" y="422665"/>
                      </a:lnTo>
                      <a:lnTo>
                        <a:pt x="8187" y="468978"/>
                      </a:lnTo>
                      <a:lnTo>
                        <a:pt x="2075" y="516614"/>
                      </a:lnTo>
                      <a:lnTo>
                        <a:pt x="0" y="565404"/>
                      </a:lnTo>
                      <a:lnTo>
                        <a:pt x="2075" y="614193"/>
                      </a:lnTo>
                      <a:lnTo>
                        <a:pt x="8187" y="661829"/>
                      </a:lnTo>
                      <a:lnTo>
                        <a:pt x="18167" y="708142"/>
                      </a:lnTo>
                      <a:lnTo>
                        <a:pt x="31845" y="752963"/>
                      </a:lnTo>
                      <a:lnTo>
                        <a:pt x="49051" y="796121"/>
                      </a:lnTo>
                      <a:lnTo>
                        <a:pt x="69615" y="837447"/>
                      </a:lnTo>
                      <a:lnTo>
                        <a:pt x="93369" y="876773"/>
                      </a:lnTo>
                      <a:lnTo>
                        <a:pt x="120142" y="913926"/>
                      </a:lnTo>
                      <a:lnTo>
                        <a:pt x="149765" y="948740"/>
                      </a:lnTo>
                      <a:lnTo>
                        <a:pt x="182067" y="981042"/>
                      </a:lnTo>
                      <a:lnTo>
                        <a:pt x="216881" y="1010665"/>
                      </a:lnTo>
                      <a:lnTo>
                        <a:pt x="254034" y="1037438"/>
                      </a:lnTo>
                      <a:lnTo>
                        <a:pt x="293360" y="1061192"/>
                      </a:lnTo>
                      <a:lnTo>
                        <a:pt x="334686" y="1081756"/>
                      </a:lnTo>
                      <a:lnTo>
                        <a:pt x="377844" y="1098962"/>
                      </a:lnTo>
                      <a:lnTo>
                        <a:pt x="422665" y="1112640"/>
                      </a:lnTo>
                      <a:lnTo>
                        <a:pt x="468978" y="1122620"/>
                      </a:lnTo>
                      <a:lnTo>
                        <a:pt x="516614" y="1128732"/>
                      </a:lnTo>
                      <a:lnTo>
                        <a:pt x="565403" y="1130808"/>
                      </a:lnTo>
                      <a:lnTo>
                        <a:pt x="614193" y="1128732"/>
                      </a:lnTo>
                      <a:lnTo>
                        <a:pt x="661829" y="1122620"/>
                      </a:lnTo>
                      <a:lnTo>
                        <a:pt x="708142" y="1112640"/>
                      </a:lnTo>
                      <a:lnTo>
                        <a:pt x="752963" y="1098962"/>
                      </a:lnTo>
                      <a:lnTo>
                        <a:pt x="796121" y="1081756"/>
                      </a:lnTo>
                      <a:lnTo>
                        <a:pt x="837447" y="1061192"/>
                      </a:lnTo>
                      <a:lnTo>
                        <a:pt x="876773" y="1037438"/>
                      </a:lnTo>
                      <a:lnTo>
                        <a:pt x="913926" y="1010665"/>
                      </a:lnTo>
                      <a:lnTo>
                        <a:pt x="948740" y="981042"/>
                      </a:lnTo>
                      <a:lnTo>
                        <a:pt x="981042" y="948740"/>
                      </a:lnTo>
                      <a:lnTo>
                        <a:pt x="1010665" y="913926"/>
                      </a:lnTo>
                      <a:lnTo>
                        <a:pt x="1037438" y="876773"/>
                      </a:lnTo>
                      <a:lnTo>
                        <a:pt x="1061192" y="837447"/>
                      </a:lnTo>
                      <a:lnTo>
                        <a:pt x="1081756" y="796121"/>
                      </a:lnTo>
                      <a:lnTo>
                        <a:pt x="1098962" y="752963"/>
                      </a:lnTo>
                      <a:lnTo>
                        <a:pt x="1112640" y="708142"/>
                      </a:lnTo>
                      <a:lnTo>
                        <a:pt x="1122620" y="661829"/>
                      </a:lnTo>
                      <a:lnTo>
                        <a:pt x="1128732" y="614193"/>
                      </a:lnTo>
                      <a:lnTo>
                        <a:pt x="1130807" y="565404"/>
                      </a:lnTo>
                      <a:lnTo>
                        <a:pt x="1128732" y="516614"/>
                      </a:lnTo>
                      <a:lnTo>
                        <a:pt x="1122620" y="468978"/>
                      </a:lnTo>
                      <a:lnTo>
                        <a:pt x="1112640" y="422665"/>
                      </a:lnTo>
                      <a:lnTo>
                        <a:pt x="1098962" y="377844"/>
                      </a:lnTo>
                      <a:lnTo>
                        <a:pt x="1081756" y="334686"/>
                      </a:lnTo>
                      <a:lnTo>
                        <a:pt x="1061192" y="293360"/>
                      </a:lnTo>
                      <a:lnTo>
                        <a:pt x="1037438" y="254034"/>
                      </a:lnTo>
                      <a:lnTo>
                        <a:pt x="1010665" y="216881"/>
                      </a:lnTo>
                      <a:lnTo>
                        <a:pt x="981042" y="182067"/>
                      </a:lnTo>
                      <a:lnTo>
                        <a:pt x="948740" y="149765"/>
                      </a:lnTo>
                      <a:lnTo>
                        <a:pt x="913926" y="120142"/>
                      </a:lnTo>
                      <a:lnTo>
                        <a:pt x="876773" y="93369"/>
                      </a:lnTo>
                      <a:lnTo>
                        <a:pt x="837447" y="69615"/>
                      </a:lnTo>
                      <a:lnTo>
                        <a:pt x="796121" y="49051"/>
                      </a:lnTo>
                      <a:lnTo>
                        <a:pt x="752963" y="31845"/>
                      </a:lnTo>
                      <a:lnTo>
                        <a:pt x="708142" y="18167"/>
                      </a:lnTo>
                      <a:lnTo>
                        <a:pt x="661829" y="8187"/>
                      </a:lnTo>
                      <a:lnTo>
                        <a:pt x="614193" y="2075"/>
                      </a:lnTo>
                      <a:lnTo>
                        <a:pt x="56540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</p:spPr>
              <p:txBody>
                <a:bodyPr wrap="square" lIns="0" tIns="0" rIns="0" bIns="0" rtlCol="0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900" b="0" i="0" u="none" strike="noStrike" kern="0" cap="none" spc="0" normalizeH="0" baseline="0" noProof="0">
                    <a:ln>
                      <a:noFill/>
                    </a:ln>
                    <a:solidFill>
                      <a:srgbClr val="5C5C5C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68" name="object 41">
                  <a:extLst>
                    <a:ext uri="{FF2B5EF4-FFF2-40B4-BE49-F238E27FC236}">
                      <a16:creationId xmlns:a16="http://schemas.microsoft.com/office/drawing/2014/main" id="{52170709-DE41-4FFE-B01D-5363641D2A28}"/>
                    </a:ext>
                  </a:extLst>
                </p:cNvPr>
                <p:cNvSpPr/>
                <p:nvPr/>
              </p:nvSpPr>
              <p:spPr>
                <a:xfrm>
                  <a:off x="3547109" y="2032254"/>
                  <a:ext cx="1130935" cy="113093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0935" h="1130935">
                      <a:moveTo>
                        <a:pt x="0" y="565404"/>
                      </a:moveTo>
                      <a:lnTo>
                        <a:pt x="2075" y="516614"/>
                      </a:lnTo>
                      <a:lnTo>
                        <a:pt x="8187" y="468978"/>
                      </a:lnTo>
                      <a:lnTo>
                        <a:pt x="18167" y="422665"/>
                      </a:lnTo>
                      <a:lnTo>
                        <a:pt x="31845" y="377844"/>
                      </a:lnTo>
                      <a:lnTo>
                        <a:pt x="49051" y="334686"/>
                      </a:lnTo>
                      <a:lnTo>
                        <a:pt x="69615" y="293360"/>
                      </a:lnTo>
                      <a:lnTo>
                        <a:pt x="93369" y="254034"/>
                      </a:lnTo>
                      <a:lnTo>
                        <a:pt x="120142" y="216881"/>
                      </a:lnTo>
                      <a:lnTo>
                        <a:pt x="149765" y="182067"/>
                      </a:lnTo>
                      <a:lnTo>
                        <a:pt x="182067" y="149765"/>
                      </a:lnTo>
                      <a:lnTo>
                        <a:pt x="216881" y="120142"/>
                      </a:lnTo>
                      <a:lnTo>
                        <a:pt x="254034" y="93369"/>
                      </a:lnTo>
                      <a:lnTo>
                        <a:pt x="293360" y="69615"/>
                      </a:lnTo>
                      <a:lnTo>
                        <a:pt x="334686" y="49051"/>
                      </a:lnTo>
                      <a:lnTo>
                        <a:pt x="377844" y="31845"/>
                      </a:lnTo>
                      <a:lnTo>
                        <a:pt x="422665" y="18167"/>
                      </a:lnTo>
                      <a:lnTo>
                        <a:pt x="468978" y="8187"/>
                      </a:lnTo>
                      <a:lnTo>
                        <a:pt x="516614" y="2075"/>
                      </a:lnTo>
                      <a:lnTo>
                        <a:pt x="565403" y="0"/>
                      </a:lnTo>
                      <a:lnTo>
                        <a:pt x="614193" y="2075"/>
                      </a:lnTo>
                      <a:lnTo>
                        <a:pt x="661829" y="8187"/>
                      </a:lnTo>
                      <a:lnTo>
                        <a:pt x="708142" y="18167"/>
                      </a:lnTo>
                      <a:lnTo>
                        <a:pt x="752963" y="31845"/>
                      </a:lnTo>
                      <a:lnTo>
                        <a:pt x="796121" y="49051"/>
                      </a:lnTo>
                      <a:lnTo>
                        <a:pt x="837447" y="69615"/>
                      </a:lnTo>
                      <a:lnTo>
                        <a:pt x="876773" y="93369"/>
                      </a:lnTo>
                      <a:lnTo>
                        <a:pt x="913926" y="120142"/>
                      </a:lnTo>
                      <a:lnTo>
                        <a:pt x="948740" y="149765"/>
                      </a:lnTo>
                      <a:lnTo>
                        <a:pt x="981042" y="182067"/>
                      </a:lnTo>
                      <a:lnTo>
                        <a:pt x="1010665" y="216881"/>
                      </a:lnTo>
                      <a:lnTo>
                        <a:pt x="1037438" y="254034"/>
                      </a:lnTo>
                      <a:lnTo>
                        <a:pt x="1061192" y="293360"/>
                      </a:lnTo>
                      <a:lnTo>
                        <a:pt x="1081756" y="334686"/>
                      </a:lnTo>
                      <a:lnTo>
                        <a:pt x="1098962" y="377844"/>
                      </a:lnTo>
                      <a:lnTo>
                        <a:pt x="1112640" y="422665"/>
                      </a:lnTo>
                      <a:lnTo>
                        <a:pt x="1122620" y="468978"/>
                      </a:lnTo>
                      <a:lnTo>
                        <a:pt x="1128732" y="516614"/>
                      </a:lnTo>
                      <a:lnTo>
                        <a:pt x="1130807" y="565404"/>
                      </a:lnTo>
                      <a:lnTo>
                        <a:pt x="1128732" y="614193"/>
                      </a:lnTo>
                      <a:lnTo>
                        <a:pt x="1122620" y="661829"/>
                      </a:lnTo>
                      <a:lnTo>
                        <a:pt x="1112640" y="708142"/>
                      </a:lnTo>
                      <a:lnTo>
                        <a:pt x="1098962" y="752963"/>
                      </a:lnTo>
                      <a:lnTo>
                        <a:pt x="1081756" y="796121"/>
                      </a:lnTo>
                      <a:lnTo>
                        <a:pt x="1061192" y="837447"/>
                      </a:lnTo>
                      <a:lnTo>
                        <a:pt x="1037438" y="876773"/>
                      </a:lnTo>
                      <a:lnTo>
                        <a:pt x="1010665" y="913926"/>
                      </a:lnTo>
                      <a:lnTo>
                        <a:pt x="981042" y="948740"/>
                      </a:lnTo>
                      <a:lnTo>
                        <a:pt x="948740" y="981042"/>
                      </a:lnTo>
                      <a:lnTo>
                        <a:pt x="913926" y="1010665"/>
                      </a:lnTo>
                      <a:lnTo>
                        <a:pt x="876773" y="1037438"/>
                      </a:lnTo>
                      <a:lnTo>
                        <a:pt x="837447" y="1061192"/>
                      </a:lnTo>
                      <a:lnTo>
                        <a:pt x="796121" y="1081756"/>
                      </a:lnTo>
                      <a:lnTo>
                        <a:pt x="752963" y="1098962"/>
                      </a:lnTo>
                      <a:lnTo>
                        <a:pt x="708142" y="1112640"/>
                      </a:lnTo>
                      <a:lnTo>
                        <a:pt x="661829" y="1122620"/>
                      </a:lnTo>
                      <a:lnTo>
                        <a:pt x="614193" y="1128732"/>
                      </a:lnTo>
                      <a:lnTo>
                        <a:pt x="565403" y="1130808"/>
                      </a:lnTo>
                      <a:lnTo>
                        <a:pt x="516614" y="1128732"/>
                      </a:lnTo>
                      <a:lnTo>
                        <a:pt x="468978" y="1122620"/>
                      </a:lnTo>
                      <a:lnTo>
                        <a:pt x="422665" y="1112640"/>
                      </a:lnTo>
                      <a:lnTo>
                        <a:pt x="377844" y="1098962"/>
                      </a:lnTo>
                      <a:lnTo>
                        <a:pt x="334686" y="1081756"/>
                      </a:lnTo>
                      <a:lnTo>
                        <a:pt x="293360" y="1061192"/>
                      </a:lnTo>
                      <a:lnTo>
                        <a:pt x="254034" y="1037438"/>
                      </a:lnTo>
                      <a:lnTo>
                        <a:pt x="216881" y="1010665"/>
                      </a:lnTo>
                      <a:lnTo>
                        <a:pt x="182067" y="981042"/>
                      </a:lnTo>
                      <a:lnTo>
                        <a:pt x="149765" y="948740"/>
                      </a:lnTo>
                      <a:lnTo>
                        <a:pt x="120142" y="913926"/>
                      </a:lnTo>
                      <a:lnTo>
                        <a:pt x="93369" y="876773"/>
                      </a:lnTo>
                      <a:lnTo>
                        <a:pt x="69615" y="837447"/>
                      </a:lnTo>
                      <a:lnTo>
                        <a:pt x="49051" y="796121"/>
                      </a:lnTo>
                      <a:lnTo>
                        <a:pt x="31845" y="752963"/>
                      </a:lnTo>
                      <a:lnTo>
                        <a:pt x="18167" y="708142"/>
                      </a:lnTo>
                      <a:lnTo>
                        <a:pt x="8187" y="661829"/>
                      </a:lnTo>
                      <a:lnTo>
                        <a:pt x="2075" y="614193"/>
                      </a:lnTo>
                      <a:lnTo>
                        <a:pt x="0" y="565404"/>
                      </a:lnTo>
                      <a:close/>
                    </a:path>
                  </a:pathLst>
                </a:custGeom>
                <a:ln w="19812">
                  <a:solidFill>
                    <a:srgbClr val="A6A6A6"/>
                  </a:solidFill>
                </a:ln>
              </p:spPr>
              <p:txBody>
                <a:bodyPr wrap="square" lIns="0" tIns="0" rIns="0" bIns="0" rtlCol="0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900" b="0" i="0" u="none" strike="noStrike" kern="0" cap="none" spc="0" normalizeH="0" baseline="0" noProof="0">
                    <a:ln>
                      <a:noFill/>
                    </a:ln>
                    <a:solidFill>
                      <a:srgbClr val="5C5C5C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62" name="object 21">
                <a:extLst>
                  <a:ext uri="{FF2B5EF4-FFF2-40B4-BE49-F238E27FC236}">
                    <a16:creationId xmlns:a16="http://schemas.microsoft.com/office/drawing/2014/main" id="{AA94667E-179D-4C24-BB70-2FA073913363}"/>
                  </a:ext>
                </a:extLst>
              </p:cNvPr>
              <p:cNvSpPr txBox="1"/>
              <p:nvPr/>
            </p:nvSpPr>
            <p:spPr>
              <a:xfrm>
                <a:off x="2350494" y="2975372"/>
                <a:ext cx="1399885" cy="276999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 marL="12700" marR="5080" lvl="0" indent="635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b-NO" sz="900" b="0" i="0" u="none" strike="noStrike" kern="0" cap="none" spc="-1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Verdana"/>
                  </a:rPr>
                  <a:t>Oppretter / kontrollerer og fullfører innkjøpsforespørsel</a:t>
                </a:r>
              </a:p>
            </p:txBody>
          </p:sp>
          <p:sp>
            <p:nvSpPr>
              <p:cNvPr id="63" name="object 66">
                <a:extLst>
                  <a:ext uri="{FF2B5EF4-FFF2-40B4-BE49-F238E27FC236}">
                    <a16:creationId xmlns:a16="http://schemas.microsoft.com/office/drawing/2014/main" id="{06F51D83-4CE5-4EE5-85A1-92CBD96EC82E}"/>
                  </a:ext>
                </a:extLst>
              </p:cNvPr>
              <p:cNvSpPr/>
              <p:nvPr/>
            </p:nvSpPr>
            <p:spPr>
              <a:xfrm>
                <a:off x="2613388" y="2200392"/>
                <a:ext cx="534975" cy="445470"/>
              </a:xfrm>
              <a:prstGeom prst="rect">
                <a:avLst/>
              </a:prstGeom>
              <a:blipFill>
                <a:blip r:embed="rId1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a:blipFill>
            </p:spPr>
            <p:txBody>
              <a:bodyPr wrap="square" lIns="0" tIns="0" rIns="0" bIns="0" rtlCol="0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900" b="0" i="0" u="none" strike="noStrike" kern="0" cap="none" spc="0" normalizeH="0" baseline="0" noProof="0">
                  <a:ln>
                    <a:noFill/>
                  </a:ln>
                  <a:solidFill>
                    <a:srgbClr val="5C5C5C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</p:grp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B783C816-13FC-40E8-B793-1B3B299139AE}"/>
                </a:ext>
              </a:extLst>
            </p:cNvPr>
            <p:cNvSpPr txBox="1"/>
            <p:nvPr/>
          </p:nvSpPr>
          <p:spPr>
            <a:xfrm>
              <a:off x="4689951" y="2983535"/>
              <a:ext cx="1282148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1200" cap="none" spc="0" normalizeH="0" baseline="0" noProof="0" err="1">
                  <a:ln>
                    <a:noFill/>
                  </a:ln>
                  <a:solidFill>
                    <a:srgbClr val="5C5C5C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Innkjøper</a:t>
              </a:r>
              <a:endPara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31" name="object 8">
            <a:extLst>
              <a:ext uri="{FF2B5EF4-FFF2-40B4-BE49-F238E27FC236}">
                <a16:creationId xmlns:a16="http://schemas.microsoft.com/office/drawing/2014/main" id="{1AF27EB5-F9C2-4A61-91A0-C8D6D7E8C465}"/>
              </a:ext>
            </a:extLst>
          </p:cNvPr>
          <p:cNvSpPr/>
          <p:nvPr/>
        </p:nvSpPr>
        <p:spPr>
          <a:xfrm>
            <a:off x="4484780" y="2320266"/>
            <a:ext cx="189709" cy="538893"/>
          </a:xfrm>
          <a:prstGeom prst="rect">
            <a:avLst/>
          </a:prstGeom>
          <a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761C3646-9CAC-46D2-8CCF-9ED0351A70D8}"/>
              </a:ext>
            </a:extLst>
          </p:cNvPr>
          <p:cNvSpPr txBox="1"/>
          <p:nvPr/>
        </p:nvSpPr>
        <p:spPr>
          <a:xfrm>
            <a:off x="4318516" y="2044203"/>
            <a:ext cx="99449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err="1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Kostnads-godkjenner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33" name="object 52">
            <a:extLst>
              <a:ext uri="{FF2B5EF4-FFF2-40B4-BE49-F238E27FC236}">
                <a16:creationId xmlns:a16="http://schemas.microsoft.com/office/drawing/2014/main" id="{56F7333C-238E-4671-802A-5640AF848B00}"/>
              </a:ext>
            </a:extLst>
          </p:cNvPr>
          <p:cNvSpPr txBox="1"/>
          <p:nvPr/>
        </p:nvSpPr>
        <p:spPr>
          <a:xfrm>
            <a:off x="4608896" y="1474647"/>
            <a:ext cx="1305617" cy="289182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 lvl="0" indent="0" algn="ctr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-5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Godkjenner</a:t>
            </a:r>
            <a:r>
              <a:rPr kumimoji="0" lang="en-US" sz="900" b="0" i="0" u="none" strike="noStrike" kern="1200" cap="none" spc="-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 </a:t>
            </a:r>
            <a:r>
              <a:rPr kumimoji="0" lang="en-US" sz="900" b="0" i="0" u="none" strike="noStrike" kern="1200" cap="none" spc="-5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innkjøpsforespørsel</a:t>
            </a:r>
            <a:endParaRPr kumimoji="0" lang="en-US" sz="900" b="0" i="0" u="none" strike="noStrike" kern="1200" cap="none" spc="-5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Verdana"/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A5EBDB1A-F233-41F2-B11D-4B2D0768B197}"/>
              </a:ext>
            </a:extLst>
          </p:cNvPr>
          <p:cNvGrpSpPr/>
          <p:nvPr/>
        </p:nvGrpSpPr>
        <p:grpSpPr>
          <a:xfrm>
            <a:off x="5192343" y="3218838"/>
            <a:ext cx="1038530" cy="1130932"/>
            <a:chOff x="3467100" y="1822704"/>
            <a:chExt cx="1417447" cy="1481455"/>
          </a:xfrm>
        </p:grpSpPr>
        <p:sp>
          <p:nvSpPr>
            <p:cNvPr id="54" name="object 17">
              <a:extLst>
                <a:ext uri="{FF2B5EF4-FFF2-40B4-BE49-F238E27FC236}">
                  <a16:creationId xmlns:a16="http://schemas.microsoft.com/office/drawing/2014/main" id="{73DA793B-CF37-41CC-A4C0-B083CAD94E1B}"/>
                </a:ext>
              </a:extLst>
            </p:cNvPr>
            <p:cNvSpPr/>
            <p:nvPr/>
          </p:nvSpPr>
          <p:spPr>
            <a:xfrm>
              <a:off x="3550284" y="1898904"/>
              <a:ext cx="1259840" cy="1405255"/>
            </a:xfrm>
            <a:custGeom>
              <a:avLst/>
              <a:gdLst/>
              <a:ahLst/>
              <a:cxnLst/>
              <a:rect l="l" t="t" r="r" b="b"/>
              <a:pathLst>
                <a:path w="1259839" h="1405254">
                  <a:moveTo>
                    <a:pt x="556132" y="0"/>
                  </a:moveTo>
                  <a:lnTo>
                    <a:pt x="604293" y="1620"/>
                  </a:lnTo>
                  <a:lnTo>
                    <a:pt x="651582" y="6414"/>
                  </a:lnTo>
                  <a:lnTo>
                    <a:pt x="697894" y="14274"/>
                  </a:lnTo>
                  <a:lnTo>
                    <a:pt x="743124" y="25098"/>
                  </a:lnTo>
                  <a:lnTo>
                    <a:pt x="787169" y="38780"/>
                  </a:lnTo>
                  <a:lnTo>
                    <a:pt x="829923" y="55215"/>
                  </a:lnTo>
                  <a:lnTo>
                    <a:pt x="871281" y="74299"/>
                  </a:lnTo>
                  <a:lnTo>
                    <a:pt x="911140" y="95927"/>
                  </a:lnTo>
                  <a:lnTo>
                    <a:pt x="949394" y="119994"/>
                  </a:lnTo>
                  <a:lnTo>
                    <a:pt x="985938" y="146397"/>
                  </a:lnTo>
                  <a:lnTo>
                    <a:pt x="1020669" y="175029"/>
                  </a:lnTo>
                  <a:lnTo>
                    <a:pt x="1053480" y="205787"/>
                  </a:lnTo>
                  <a:lnTo>
                    <a:pt x="1084269" y="238566"/>
                  </a:lnTo>
                  <a:lnTo>
                    <a:pt x="1112929" y="273261"/>
                  </a:lnTo>
                  <a:lnTo>
                    <a:pt x="1139356" y="309767"/>
                  </a:lnTo>
                  <a:lnTo>
                    <a:pt x="1163447" y="347980"/>
                  </a:lnTo>
                  <a:lnTo>
                    <a:pt x="1185094" y="387794"/>
                  </a:lnTo>
                  <a:lnTo>
                    <a:pt x="1204196" y="429107"/>
                  </a:lnTo>
                  <a:lnTo>
                    <a:pt x="1220645" y="471812"/>
                  </a:lnTo>
                  <a:lnTo>
                    <a:pt x="1234339" y="515805"/>
                  </a:lnTo>
                  <a:lnTo>
                    <a:pt x="1245172" y="560981"/>
                  </a:lnTo>
                  <a:lnTo>
                    <a:pt x="1253039" y="607236"/>
                  </a:lnTo>
                  <a:lnTo>
                    <a:pt x="1257836" y="654465"/>
                  </a:lnTo>
                  <a:lnTo>
                    <a:pt x="1259459" y="702563"/>
                  </a:lnTo>
                  <a:lnTo>
                    <a:pt x="1257836" y="750662"/>
                  </a:lnTo>
                  <a:lnTo>
                    <a:pt x="1253039" y="797891"/>
                  </a:lnTo>
                  <a:lnTo>
                    <a:pt x="1245172" y="844146"/>
                  </a:lnTo>
                  <a:lnTo>
                    <a:pt x="1234339" y="889322"/>
                  </a:lnTo>
                  <a:lnTo>
                    <a:pt x="1220645" y="933315"/>
                  </a:lnTo>
                  <a:lnTo>
                    <a:pt x="1204196" y="976020"/>
                  </a:lnTo>
                  <a:lnTo>
                    <a:pt x="1185094" y="1017333"/>
                  </a:lnTo>
                  <a:lnTo>
                    <a:pt x="1163447" y="1057147"/>
                  </a:lnTo>
                  <a:lnTo>
                    <a:pt x="1139356" y="1095360"/>
                  </a:lnTo>
                  <a:lnTo>
                    <a:pt x="1112929" y="1131866"/>
                  </a:lnTo>
                  <a:lnTo>
                    <a:pt x="1084269" y="1166561"/>
                  </a:lnTo>
                  <a:lnTo>
                    <a:pt x="1053480" y="1199340"/>
                  </a:lnTo>
                  <a:lnTo>
                    <a:pt x="1020669" y="1230098"/>
                  </a:lnTo>
                  <a:lnTo>
                    <a:pt x="985938" y="1258730"/>
                  </a:lnTo>
                  <a:lnTo>
                    <a:pt x="949394" y="1285133"/>
                  </a:lnTo>
                  <a:lnTo>
                    <a:pt x="911140" y="1309200"/>
                  </a:lnTo>
                  <a:lnTo>
                    <a:pt x="871281" y="1330828"/>
                  </a:lnTo>
                  <a:lnTo>
                    <a:pt x="829923" y="1349912"/>
                  </a:lnTo>
                  <a:lnTo>
                    <a:pt x="787169" y="1366347"/>
                  </a:lnTo>
                  <a:lnTo>
                    <a:pt x="743124" y="1380029"/>
                  </a:lnTo>
                  <a:lnTo>
                    <a:pt x="697894" y="1390853"/>
                  </a:lnTo>
                  <a:lnTo>
                    <a:pt x="651582" y="1398713"/>
                  </a:lnTo>
                  <a:lnTo>
                    <a:pt x="604293" y="1403507"/>
                  </a:lnTo>
                  <a:lnTo>
                    <a:pt x="556132" y="1405128"/>
                  </a:lnTo>
                  <a:lnTo>
                    <a:pt x="506172" y="1403355"/>
                  </a:lnTo>
                  <a:lnTo>
                    <a:pt x="456808" y="1398092"/>
                  </a:lnTo>
                  <a:lnTo>
                    <a:pt x="408205" y="1389418"/>
                  </a:lnTo>
                  <a:lnTo>
                    <a:pt x="360525" y="1377414"/>
                  </a:lnTo>
                  <a:lnTo>
                    <a:pt x="313933" y="1362159"/>
                  </a:lnTo>
                  <a:lnTo>
                    <a:pt x="268593" y="1343733"/>
                  </a:lnTo>
                  <a:lnTo>
                    <a:pt x="224667" y="1322217"/>
                  </a:lnTo>
                  <a:lnTo>
                    <a:pt x="182321" y="1297691"/>
                  </a:lnTo>
                  <a:lnTo>
                    <a:pt x="141717" y="1270235"/>
                  </a:lnTo>
                  <a:lnTo>
                    <a:pt x="103019" y="1239929"/>
                  </a:lnTo>
                  <a:lnTo>
                    <a:pt x="66391" y="1206853"/>
                  </a:lnTo>
                  <a:lnTo>
                    <a:pt x="31997" y="1171088"/>
                  </a:lnTo>
                  <a:lnTo>
                    <a:pt x="0" y="1132713"/>
                  </a:lnTo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55" name="object 18">
              <a:extLst>
                <a:ext uri="{FF2B5EF4-FFF2-40B4-BE49-F238E27FC236}">
                  <a16:creationId xmlns:a16="http://schemas.microsoft.com/office/drawing/2014/main" id="{972E0CE8-6DAF-46CA-941C-385E55B9C990}"/>
                </a:ext>
              </a:extLst>
            </p:cNvPr>
            <p:cNvSpPr/>
            <p:nvPr/>
          </p:nvSpPr>
          <p:spPr>
            <a:xfrm>
              <a:off x="3467100" y="1962911"/>
              <a:ext cx="1278890" cy="1277620"/>
            </a:xfrm>
            <a:custGeom>
              <a:avLst/>
              <a:gdLst/>
              <a:ahLst/>
              <a:cxnLst/>
              <a:rect l="l" t="t" r="r" b="b"/>
              <a:pathLst>
                <a:path w="1278889" h="1277620">
                  <a:moveTo>
                    <a:pt x="639317" y="0"/>
                  </a:moveTo>
                  <a:lnTo>
                    <a:pt x="687027" y="1751"/>
                  </a:lnTo>
                  <a:lnTo>
                    <a:pt x="733785" y="6923"/>
                  </a:lnTo>
                  <a:lnTo>
                    <a:pt x="779468" y="15392"/>
                  </a:lnTo>
                  <a:lnTo>
                    <a:pt x="823952" y="27034"/>
                  </a:lnTo>
                  <a:lnTo>
                    <a:pt x="867112" y="41727"/>
                  </a:lnTo>
                  <a:lnTo>
                    <a:pt x="908827" y="59346"/>
                  </a:lnTo>
                  <a:lnTo>
                    <a:pt x="948971" y="79769"/>
                  </a:lnTo>
                  <a:lnTo>
                    <a:pt x="987422" y="102871"/>
                  </a:lnTo>
                  <a:lnTo>
                    <a:pt x="1024055" y="128530"/>
                  </a:lnTo>
                  <a:lnTo>
                    <a:pt x="1058747" y="156622"/>
                  </a:lnTo>
                  <a:lnTo>
                    <a:pt x="1091374" y="187023"/>
                  </a:lnTo>
                  <a:lnTo>
                    <a:pt x="1121813" y="219610"/>
                  </a:lnTo>
                  <a:lnTo>
                    <a:pt x="1149940" y="254260"/>
                  </a:lnTo>
                  <a:lnTo>
                    <a:pt x="1175631" y="290849"/>
                  </a:lnTo>
                  <a:lnTo>
                    <a:pt x="1198763" y="329253"/>
                  </a:lnTo>
                  <a:lnTo>
                    <a:pt x="1219212" y="369350"/>
                  </a:lnTo>
                  <a:lnTo>
                    <a:pt x="1236854" y="411016"/>
                  </a:lnTo>
                  <a:lnTo>
                    <a:pt x="1251565" y="454127"/>
                  </a:lnTo>
                  <a:lnTo>
                    <a:pt x="1263223" y="498560"/>
                  </a:lnTo>
                  <a:lnTo>
                    <a:pt x="1271703" y="544191"/>
                  </a:lnTo>
                  <a:lnTo>
                    <a:pt x="1276882" y="590898"/>
                  </a:lnTo>
                  <a:lnTo>
                    <a:pt x="1278636" y="638555"/>
                  </a:lnTo>
                  <a:lnTo>
                    <a:pt x="1276882" y="686213"/>
                  </a:lnTo>
                  <a:lnTo>
                    <a:pt x="1271703" y="732920"/>
                  </a:lnTo>
                  <a:lnTo>
                    <a:pt x="1263223" y="778551"/>
                  </a:lnTo>
                  <a:lnTo>
                    <a:pt x="1251565" y="822984"/>
                  </a:lnTo>
                  <a:lnTo>
                    <a:pt x="1236854" y="866095"/>
                  </a:lnTo>
                  <a:lnTo>
                    <a:pt x="1219212" y="907761"/>
                  </a:lnTo>
                  <a:lnTo>
                    <a:pt x="1198763" y="947858"/>
                  </a:lnTo>
                  <a:lnTo>
                    <a:pt x="1175631" y="986262"/>
                  </a:lnTo>
                  <a:lnTo>
                    <a:pt x="1149940" y="1022851"/>
                  </a:lnTo>
                  <a:lnTo>
                    <a:pt x="1121813" y="1057501"/>
                  </a:lnTo>
                  <a:lnTo>
                    <a:pt x="1091374" y="1090088"/>
                  </a:lnTo>
                  <a:lnTo>
                    <a:pt x="1058747" y="1120489"/>
                  </a:lnTo>
                  <a:lnTo>
                    <a:pt x="1024055" y="1148581"/>
                  </a:lnTo>
                  <a:lnTo>
                    <a:pt x="987422" y="1174240"/>
                  </a:lnTo>
                  <a:lnTo>
                    <a:pt x="948971" y="1197342"/>
                  </a:lnTo>
                  <a:lnTo>
                    <a:pt x="908827" y="1217765"/>
                  </a:lnTo>
                  <a:lnTo>
                    <a:pt x="867112" y="1235384"/>
                  </a:lnTo>
                  <a:lnTo>
                    <a:pt x="823952" y="1250077"/>
                  </a:lnTo>
                  <a:lnTo>
                    <a:pt x="779468" y="1261719"/>
                  </a:lnTo>
                  <a:lnTo>
                    <a:pt x="733785" y="1270188"/>
                  </a:lnTo>
                  <a:lnTo>
                    <a:pt x="687027" y="1275360"/>
                  </a:lnTo>
                  <a:lnTo>
                    <a:pt x="639317" y="1277112"/>
                  </a:lnTo>
                  <a:lnTo>
                    <a:pt x="591608" y="1275360"/>
                  </a:lnTo>
                  <a:lnTo>
                    <a:pt x="544850" y="1270188"/>
                  </a:lnTo>
                  <a:lnTo>
                    <a:pt x="499167" y="1261719"/>
                  </a:lnTo>
                  <a:lnTo>
                    <a:pt x="454683" y="1250077"/>
                  </a:lnTo>
                  <a:lnTo>
                    <a:pt x="411523" y="1235384"/>
                  </a:lnTo>
                  <a:lnTo>
                    <a:pt x="369808" y="1217765"/>
                  </a:lnTo>
                  <a:lnTo>
                    <a:pt x="329664" y="1197342"/>
                  </a:lnTo>
                  <a:lnTo>
                    <a:pt x="291213" y="1174240"/>
                  </a:lnTo>
                  <a:lnTo>
                    <a:pt x="254580" y="1148581"/>
                  </a:lnTo>
                  <a:lnTo>
                    <a:pt x="219888" y="1120489"/>
                  </a:lnTo>
                  <a:lnTo>
                    <a:pt x="187261" y="1090088"/>
                  </a:lnTo>
                  <a:lnTo>
                    <a:pt x="156822" y="1057501"/>
                  </a:lnTo>
                  <a:lnTo>
                    <a:pt x="128695" y="1022851"/>
                  </a:lnTo>
                  <a:lnTo>
                    <a:pt x="103004" y="986262"/>
                  </a:lnTo>
                  <a:lnTo>
                    <a:pt x="79872" y="947858"/>
                  </a:lnTo>
                  <a:lnTo>
                    <a:pt x="59423" y="907761"/>
                  </a:lnTo>
                  <a:lnTo>
                    <a:pt x="41781" y="866095"/>
                  </a:lnTo>
                  <a:lnTo>
                    <a:pt x="27070" y="822984"/>
                  </a:lnTo>
                  <a:lnTo>
                    <a:pt x="15412" y="778551"/>
                  </a:lnTo>
                  <a:lnTo>
                    <a:pt x="6932" y="732920"/>
                  </a:lnTo>
                  <a:lnTo>
                    <a:pt x="1753" y="686213"/>
                  </a:lnTo>
                  <a:lnTo>
                    <a:pt x="0" y="638555"/>
                  </a:lnTo>
                  <a:lnTo>
                    <a:pt x="2217" y="585401"/>
                  </a:lnTo>
                  <a:lnTo>
                    <a:pt x="8812" y="532886"/>
                  </a:lnTo>
                  <a:lnTo>
                    <a:pt x="19696" y="481266"/>
                  </a:lnTo>
                  <a:lnTo>
                    <a:pt x="34782" y="430799"/>
                  </a:lnTo>
                  <a:lnTo>
                    <a:pt x="53981" y="381744"/>
                  </a:lnTo>
                  <a:lnTo>
                    <a:pt x="77206" y="334357"/>
                  </a:lnTo>
                  <a:lnTo>
                    <a:pt x="104368" y="288895"/>
                  </a:lnTo>
                  <a:lnTo>
                    <a:pt x="135382" y="245617"/>
                  </a:lnTo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56" name="object 19">
              <a:extLst>
                <a:ext uri="{FF2B5EF4-FFF2-40B4-BE49-F238E27FC236}">
                  <a16:creationId xmlns:a16="http://schemas.microsoft.com/office/drawing/2014/main" id="{74FC72E0-763F-475B-885C-2CC6968DC99B}"/>
                </a:ext>
              </a:extLst>
            </p:cNvPr>
            <p:cNvSpPr/>
            <p:nvPr/>
          </p:nvSpPr>
          <p:spPr>
            <a:xfrm>
              <a:off x="4111752" y="1822704"/>
              <a:ext cx="772795" cy="1082675"/>
            </a:xfrm>
            <a:custGeom>
              <a:avLst/>
              <a:gdLst/>
              <a:ahLst/>
              <a:cxnLst/>
              <a:rect l="l" t="t" r="r" b="b"/>
              <a:pathLst>
                <a:path w="772795" h="1082675">
                  <a:moveTo>
                    <a:pt x="0" y="0"/>
                  </a:moveTo>
                  <a:lnTo>
                    <a:pt x="48863" y="1521"/>
                  </a:lnTo>
                  <a:lnTo>
                    <a:pt x="96919" y="6026"/>
                  </a:lnTo>
                  <a:lnTo>
                    <a:pt x="144077" y="13424"/>
                  </a:lnTo>
                  <a:lnTo>
                    <a:pt x="190246" y="23624"/>
                  </a:lnTo>
                  <a:lnTo>
                    <a:pt x="235337" y="36535"/>
                  </a:lnTo>
                  <a:lnTo>
                    <a:pt x="279258" y="52067"/>
                  </a:lnTo>
                  <a:lnTo>
                    <a:pt x="321919" y="70128"/>
                  </a:lnTo>
                  <a:lnTo>
                    <a:pt x="363229" y="90629"/>
                  </a:lnTo>
                  <a:lnTo>
                    <a:pt x="403098" y="113479"/>
                  </a:lnTo>
                  <a:lnTo>
                    <a:pt x="441436" y="138587"/>
                  </a:lnTo>
                  <a:lnTo>
                    <a:pt x="478151" y="165862"/>
                  </a:lnTo>
                  <a:lnTo>
                    <a:pt x="513154" y="195214"/>
                  </a:lnTo>
                  <a:lnTo>
                    <a:pt x="546354" y="226552"/>
                  </a:lnTo>
                  <a:lnTo>
                    <a:pt x="577659" y="259785"/>
                  </a:lnTo>
                  <a:lnTo>
                    <a:pt x="606981" y="294823"/>
                  </a:lnTo>
                  <a:lnTo>
                    <a:pt x="634228" y="331575"/>
                  </a:lnTo>
                  <a:lnTo>
                    <a:pt x="659309" y="369951"/>
                  </a:lnTo>
                  <a:lnTo>
                    <a:pt x="682135" y="409859"/>
                  </a:lnTo>
                  <a:lnTo>
                    <a:pt x="702614" y="451210"/>
                  </a:lnTo>
                  <a:lnTo>
                    <a:pt x="720657" y="493912"/>
                  </a:lnTo>
                  <a:lnTo>
                    <a:pt x="736172" y="537875"/>
                  </a:lnTo>
                  <a:lnTo>
                    <a:pt x="749069" y="583008"/>
                  </a:lnTo>
                  <a:lnTo>
                    <a:pt x="759257" y="629221"/>
                  </a:lnTo>
                  <a:lnTo>
                    <a:pt x="766647" y="676422"/>
                  </a:lnTo>
                  <a:lnTo>
                    <a:pt x="771147" y="724522"/>
                  </a:lnTo>
                  <a:lnTo>
                    <a:pt x="772668" y="773430"/>
                  </a:lnTo>
                  <a:lnTo>
                    <a:pt x="770853" y="826453"/>
                  </a:lnTo>
                  <a:lnTo>
                    <a:pt x="765433" y="879103"/>
                  </a:lnTo>
                  <a:lnTo>
                    <a:pt x="756443" y="931195"/>
                  </a:lnTo>
                  <a:lnTo>
                    <a:pt x="743918" y="982547"/>
                  </a:lnTo>
                  <a:lnTo>
                    <a:pt x="727894" y="1032974"/>
                  </a:lnTo>
                  <a:lnTo>
                    <a:pt x="708406" y="1082294"/>
                  </a:lnTo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57" name="object 40">
              <a:extLst>
                <a:ext uri="{FF2B5EF4-FFF2-40B4-BE49-F238E27FC236}">
                  <a16:creationId xmlns:a16="http://schemas.microsoft.com/office/drawing/2014/main" id="{59F3CD5D-48A2-416D-9DE0-95DCB69415F1}"/>
                </a:ext>
              </a:extLst>
            </p:cNvPr>
            <p:cNvSpPr/>
            <p:nvPr/>
          </p:nvSpPr>
          <p:spPr>
            <a:xfrm>
              <a:off x="3547109" y="2032254"/>
              <a:ext cx="1130935" cy="1130935"/>
            </a:xfrm>
            <a:custGeom>
              <a:avLst/>
              <a:gdLst/>
              <a:ahLst/>
              <a:cxnLst/>
              <a:rect l="l" t="t" r="r" b="b"/>
              <a:pathLst>
                <a:path w="1130935" h="1130935">
                  <a:moveTo>
                    <a:pt x="565403" y="0"/>
                  </a:moveTo>
                  <a:lnTo>
                    <a:pt x="516614" y="2075"/>
                  </a:lnTo>
                  <a:lnTo>
                    <a:pt x="468978" y="8187"/>
                  </a:lnTo>
                  <a:lnTo>
                    <a:pt x="422665" y="18167"/>
                  </a:lnTo>
                  <a:lnTo>
                    <a:pt x="377844" y="31845"/>
                  </a:lnTo>
                  <a:lnTo>
                    <a:pt x="334686" y="49051"/>
                  </a:lnTo>
                  <a:lnTo>
                    <a:pt x="293360" y="69615"/>
                  </a:lnTo>
                  <a:lnTo>
                    <a:pt x="254034" y="93369"/>
                  </a:lnTo>
                  <a:lnTo>
                    <a:pt x="216881" y="120142"/>
                  </a:lnTo>
                  <a:lnTo>
                    <a:pt x="182067" y="149765"/>
                  </a:lnTo>
                  <a:lnTo>
                    <a:pt x="149765" y="182067"/>
                  </a:lnTo>
                  <a:lnTo>
                    <a:pt x="120142" y="216881"/>
                  </a:lnTo>
                  <a:lnTo>
                    <a:pt x="93369" y="254034"/>
                  </a:lnTo>
                  <a:lnTo>
                    <a:pt x="69615" y="293360"/>
                  </a:lnTo>
                  <a:lnTo>
                    <a:pt x="49051" y="334686"/>
                  </a:lnTo>
                  <a:lnTo>
                    <a:pt x="31845" y="377844"/>
                  </a:lnTo>
                  <a:lnTo>
                    <a:pt x="18167" y="422665"/>
                  </a:lnTo>
                  <a:lnTo>
                    <a:pt x="8187" y="468978"/>
                  </a:lnTo>
                  <a:lnTo>
                    <a:pt x="2075" y="516614"/>
                  </a:lnTo>
                  <a:lnTo>
                    <a:pt x="0" y="565404"/>
                  </a:lnTo>
                  <a:lnTo>
                    <a:pt x="2075" y="614193"/>
                  </a:lnTo>
                  <a:lnTo>
                    <a:pt x="8187" y="661829"/>
                  </a:lnTo>
                  <a:lnTo>
                    <a:pt x="18167" y="708142"/>
                  </a:lnTo>
                  <a:lnTo>
                    <a:pt x="31845" y="752963"/>
                  </a:lnTo>
                  <a:lnTo>
                    <a:pt x="49051" y="796121"/>
                  </a:lnTo>
                  <a:lnTo>
                    <a:pt x="69615" y="837447"/>
                  </a:lnTo>
                  <a:lnTo>
                    <a:pt x="93369" y="876773"/>
                  </a:lnTo>
                  <a:lnTo>
                    <a:pt x="120142" y="913926"/>
                  </a:lnTo>
                  <a:lnTo>
                    <a:pt x="149765" y="948740"/>
                  </a:lnTo>
                  <a:lnTo>
                    <a:pt x="182067" y="981042"/>
                  </a:lnTo>
                  <a:lnTo>
                    <a:pt x="216881" y="1010665"/>
                  </a:lnTo>
                  <a:lnTo>
                    <a:pt x="254034" y="1037438"/>
                  </a:lnTo>
                  <a:lnTo>
                    <a:pt x="293360" y="1061192"/>
                  </a:lnTo>
                  <a:lnTo>
                    <a:pt x="334686" y="1081756"/>
                  </a:lnTo>
                  <a:lnTo>
                    <a:pt x="377844" y="1098962"/>
                  </a:lnTo>
                  <a:lnTo>
                    <a:pt x="422665" y="1112640"/>
                  </a:lnTo>
                  <a:lnTo>
                    <a:pt x="468978" y="1122620"/>
                  </a:lnTo>
                  <a:lnTo>
                    <a:pt x="516614" y="1128732"/>
                  </a:lnTo>
                  <a:lnTo>
                    <a:pt x="565403" y="1130808"/>
                  </a:lnTo>
                  <a:lnTo>
                    <a:pt x="614193" y="1128732"/>
                  </a:lnTo>
                  <a:lnTo>
                    <a:pt x="661829" y="1122620"/>
                  </a:lnTo>
                  <a:lnTo>
                    <a:pt x="708142" y="1112640"/>
                  </a:lnTo>
                  <a:lnTo>
                    <a:pt x="752963" y="1098962"/>
                  </a:lnTo>
                  <a:lnTo>
                    <a:pt x="796121" y="1081756"/>
                  </a:lnTo>
                  <a:lnTo>
                    <a:pt x="837447" y="1061192"/>
                  </a:lnTo>
                  <a:lnTo>
                    <a:pt x="876773" y="1037438"/>
                  </a:lnTo>
                  <a:lnTo>
                    <a:pt x="913926" y="1010665"/>
                  </a:lnTo>
                  <a:lnTo>
                    <a:pt x="948740" y="981042"/>
                  </a:lnTo>
                  <a:lnTo>
                    <a:pt x="981042" y="948740"/>
                  </a:lnTo>
                  <a:lnTo>
                    <a:pt x="1010665" y="913926"/>
                  </a:lnTo>
                  <a:lnTo>
                    <a:pt x="1037438" y="876773"/>
                  </a:lnTo>
                  <a:lnTo>
                    <a:pt x="1061192" y="837447"/>
                  </a:lnTo>
                  <a:lnTo>
                    <a:pt x="1081756" y="796121"/>
                  </a:lnTo>
                  <a:lnTo>
                    <a:pt x="1098962" y="752963"/>
                  </a:lnTo>
                  <a:lnTo>
                    <a:pt x="1112640" y="708142"/>
                  </a:lnTo>
                  <a:lnTo>
                    <a:pt x="1122620" y="661829"/>
                  </a:lnTo>
                  <a:lnTo>
                    <a:pt x="1128732" y="614193"/>
                  </a:lnTo>
                  <a:lnTo>
                    <a:pt x="1130807" y="565404"/>
                  </a:lnTo>
                  <a:lnTo>
                    <a:pt x="1128732" y="516614"/>
                  </a:lnTo>
                  <a:lnTo>
                    <a:pt x="1122620" y="468978"/>
                  </a:lnTo>
                  <a:lnTo>
                    <a:pt x="1112640" y="422665"/>
                  </a:lnTo>
                  <a:lnTo>
                    <a:pt x="1098962" y="377844"/>
                  </a:lnTo>
                  <a:lnTo>
                    <a:pt x="1081756" y="334686"/>
                  </a:lnTo>
                  <a:lnTo>
                    <a:pt x="1061192" y="293360"/>
                  </a:lnTo>
                  <a:lnTo>
                    <a:pt x="1037438" y="254034"/>
                  </a:lnTo>
                  <a:lnTo>
                    <a:pt x="1010665" y="216881"/>
                  </a:lnTo>
                  <a:lnTo>
                    <a:pt x="981042" y="182067"/>
                  </a:lnTo>
                  <a:lnTo>
                    <a:pt x="948740" y="149765"/>
                  </a:lnTo>
                  <a:lnTo>
                    <a:pt x="913926" y="120142"/>
                  </a:lnTo>
                  <a:lnTo>
                    <a:pt x="876773" y="93369"/>
                  </a:lnTo>
                  <a:lnTo>
                    <a:pt x="837447" y="69615"/>
                  </a:lnTo>
                  <a:lnTo>
                    <a:pt x="796121" y="49051"/>
                  </a:lnTo>
                  <a:lnTo>
                    <a:pt x="752963" y="31845"/>
                  </a:lnTo>
                  <a:lnTo>
                    <a:pt x="708142" y="18167"/>
                  </a:lnTo>
                  <a:lnTo>
                    <a:pt x="661829" y="8187"/>
                  </a:lnTo>
                  <a:lnTo>
                    <a:pt x="614193" y="2075"/>
                  </a:lnTo>
                  <a:lnTo>
                    <a:pt x="565403" y="0"/>
                  </a:lnTo>
                  <a:close/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58" name="object 41">
              <a:extLst>
                <a:ext uri="{FF2B5EF4-FFF2-40B4-BE49-F238E27FC236}">
                  <a16:creationId xmlns:a16="http://schemas.microsoft.com/office/drawing/2014/main" id="{142C507C-25CB-4109-807F-DF71A3DB67AD}"/>
                </a:ext>
              </a:extLst>
            </p:cNvPr>
            <p:cNvSpPr/>
            <p:nvPr/>
          </p:nvSpPr>
          <p:spPr>
            <a:xfrm>
              <a:off x="3547109" y="2032254"/>
              <a:ext cx="1130935" cy="1130935"/>
            </a:xfrm>
            <a:custGeom>
              <a:avLst/>
              <a:gdLst/>
              <a:ahLst/>
              <a:cxnLst/>
              <a:rect l="l" t="t" r="r" b="b"/>
              <a:pathLst>
                <a:path w="1130935" h="1130935">
                  <a:moveTo>
                    <a:pt x="0" y="565404"/>
                  </a:moveTo>
                  <a:lnTo>
                    <a:pt x="2075" y="516614"/>
                  </a:lnTo>
                  <a:lnTo>
                    <a:pt x="8187" y="468978"/>
                  </a:lnTo>
                  <a:lnTo>
                    <a:pt x="18167" y="422665"/>
                  </a:lnTo>
                  <a:lnTo>
                    <a:pt x="31845" y="377844"/>
                  </a:lnTo>
                  <a:lnTo>
                    <a:pt x="49051" y="334686"/>
                  </a:lnTo>
                  <a:lnTo>
                    <a:pt x="69615" y="293360"/>
                  </a:lnTo>
                  <a:lnTo>
                    <a:pt x="93369" y="254034"/>
                  </a:lnTo>
                  <a:lnTo>
                    <a:pt x="120142" y="216881"/>
                  </a:lnTo>
                  <a:lnTo>
                    <a:pt x="149765" y="182067"/>
                  </a:lnTo>
                  <a:lnTo>
                    <a:pt x="182067" y="149765"/>
                  </a:lnTo>
                  <a:lnTo>
                    <a:pt x="216881" y="120142"/>
                  </a:lnTo>
                  <a:lnTo>
                    <a:pt x="254034" y="93369"/>
                  </a:lnTo>
                  <a:lnTo>
                    <a:pt x="293360" y="69615"/>
                  </a:lnTo>
                  <a:lnTo>
                    <a:pt x="334686" y="49051"/>
                  </a:lnTo>
                  <a:lnTo>
                    <a:pt x="377844" y="31845"/>
                  </a:lnTo>
                  <a:lnTo>
                    <a:pt x="422665" y="18167"/>
                  </a:lnTo>
                  <a:lnTo>
                    <a:pt x="468978" y="8187"/>
                  </a:lnTo>
                  <a:lnTo>
                    <a:pt x="516614" y="2075"/>
                  </a:lnTo>
                  <a:lnTo>
                    <a:pt x="565403" y="0"/>
                  </a:lnTo>
                  <a:lnTo>
                    <a:pt x="614193" y="2075"/>
                  </a:lnTo>
                  <a:lnTo>
                    <a:pt x="661829" y="8187"/>
                  </a:lnTo>
                  <a:lnTo>
                    <a:pt x="708142" y="18167"/>
                  </a:lnTo>
                  <a:lnTo>
                    <a:pt x="752963" y="31845"/>
                  </a:lnTo>
                  <a:lnTo>
                    <a:pt x="796121" y="49051"/>
                  </a:lnTo>
                  <a:lnTo>
                    <a:pt x="837447" y="69615"/>
                  </a:lnTo>
                  <a:lnTo>
                    <a:pt x="876773" y="93369"/>
                  </a:lnTo>
                  <a:lnTo>
                    <a:pt x="913926" y="120142"/>
                  </a:lnTo>
                  <a:lnTo>
                    <a:pt x="948740" y="149765"/>
                  </a:lnTo>
                  <a:lnTo>
                    <a:pt x="981042" y="182067"/>
                  </a:lnTo>
                  <a:lnTo>
                    <a:pt x="1010665" y="216881"/>
                  </a:lnTo>
                  <a:lnTo>
                    <a:pt x="1037438" y="254034"/>
                  </a:lnTo>
                  <a:lnTo>
                    <a:pt x="1061192" y="293360"/>
                  </a:lnTo>
                  <a:lnTo>
                    <a:pt x="1081756" y="334686"/>
                  </a:lnTo>
                  <a:lnTo>
                    <a:pt x="1098962" y="377844"/>
                  </a:lnTo>
                  <a:lnTo>
                    <a:pt x="1112640" y="422665"/>
                  </a:lnTo>
                  <a:lnTo>
                    <a:pt x="1122620" y="468978"/>
                  </a:lnTo>
                  <a:lnTo>
                    <a:pt x="1128732" y="516614"/>
                  </a:lnTo>
                  <a:lnTo>
                    <a:pt x="1130807" y="565404"/>
                  </a:lnTo>
                  <a:lnTo>
                    <a:pt x="1128732" y="614193"/>
                  </a:lnTo>
                  <a:lnTo>
                    <a:pt x="1122620" y="661829"/>
                  </a:lnTo>
                  <a:lnTo>
                    <a:pt x="1112640" y="708142"/>
                  </a:lnTo>
                  <a:lnTo>
                    <a:pt x="1098962" y="752963"/>
                  </a:lnTo>
                  <a:lnTo>
                    <a:pt x="1081756" y="796121"/>
                  </a:lnTo>
                  <a:lnTo>
                    <a:pt x="1061192" y="837447"/>
                  </a:lnTo>
                  <a:lnTo>
                    <a:pt x="1037438" y="876773"/>
                  </a:lnTo>
                  <a:lnTo>
                    <a:pt x="1010665" y="913926"/>
                  </a:lnTo>
                  <a:lnTo>
                    <a:pt x="981042" y="948740"/>
                  </a:lnTo>
                  <a:lnTo>
                    <a:pt x="948740" y="981042"/>
                  </a:lnTo>
                  <a:lnTo>
                    <a:pt x="913926" y="1010665"/>
                  </a:lnTo>
                  <a:lnTo>
                    <a:pt x="876773" y="1037438"/>
                  </a:lnTo>
                  <a:lnTo>
                    <a:pt x="837447" y="1061192"/>
                  </a:lnTo>
                  <a:lnTo>
                    <a:pt x="796121" y="1081756"/>
                  </a:lnTo>
                  <a:lnTo>
                    <a:pt x="752963" y="1098962"/>
                  </a:lnTo>
                  <a:lnTo>
                    <a:pt x="708142" y="1112640"/>
                  </a:lnTo>
                  <a:lnTo>
                    <a:pt x="661829" y="1122620"/>
                  </a:lnTo>
                  <a:lnTo>
                    <a:pt x="614193" y="1128732"/>
                  </a:lnTo>
                  <a:lnTo>
                    <a:pt x="565403" y="1130808"/>
                  </a:lnTo>
                  <a:lnTo>
                    <a:pt x="516614" y="1128732"/>
                  </a:lnTo>
                  <a:lnTo>
                    <a:pt x="468978" y="1122620"/>
                  </a:lnTo>
                  <a:lnTo>
                    <a:pt x="422665" y="1112640"/>
                  </a:lnTo>
                  <a:lnTo>
                    <a:pt x="377844" y="1098962"/>
                  </a:lnTo>
                  <a:lnTo>
                    <a:pt x="334686" y="1081756"/>
                  </a:lnTo>
                  <a:lnTo>
                    <a:pt x="293360" y="1061192"/>
                  </a:lnTo>
                  <a:lnTo>
                    <a:pt x="254034" y="1037438"/>
                  </a:lnTo>
                  <a:lnTo>
                    <a:pt x="216881" y="1010665"/>
                  </a:lnTo>
                  <a:lnTo>
                    <a:pt x="182067" y="981042"/>
                  </a:lnTo>
                  <a:lnTo>
                    <a:pt x="149765" y="948740"/>
                  </a:lnTo>
                  <a:lnTo>
                    <a:pt x="120142" y="913926"/>
                  </a:lnTo>
                  <a:lnTo>
                    <a:pt x="93369" y="876773"/>
                  </a:lnTo>
                  <a:lnTo>
                    <a:pt x="69615" y="837447"/>
                  </a:lnTo>
                  <a:lnTo>
                    <a:pt x="49051" y="796121"/>
                  </a:lnTo>
                  <a:lnTo>
                    <a:pt x="31845" y="752963"/>
                  </a:lnTo>
                  <a:lnTo>
                    <a:pt x="18167" y="708142"/>
                  </a:lnTo>
                  <a:lnTo>
                    <a:pt x="8187" y="661829"/>
                  </a:lnTo>
                  <a:lnTo>
                    <a:pt x="2075" y="614193"/>
                  </a:lnTo>
                  <a:lnTo>
                    <a:pt x="0" y="565404"/>
                  </a:lnTo>
                  <a:close/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35" name="object 69">
            <a:extLst>
              <a:ext uri="{FF2B5EF4-FFF2-40B4-BE49-F238E27FC236}">
                <a16:creationId xmlns:a16="http://schemas.microsoft.com/office/drawing/2014/main" id="{BD592B38-5313-4DC1-9F71-923A378A81C2}"/>
              </a:ext>
            </a:extLst>
          </p:cNvPr>
          <p:cNvSpPr/>
          <p:nvPr/>
        </p:nvSpPr>
        <p:spPr>
          <a:xfrm flipH="1">
            <a:off x="5313766" y="3656028"/>
            <a:ext cx="451180" cy="356436"/>
          </a:xfrm>
          <a:prstGeom prst="rect">
            <a:avLst/>
          </a:prstGeom>
          <a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36" name="object 74">
            <a:extLst>
              <a:ext uri="{FF2B5EF4-FFF2-40B4-BE49-F238E27FC236}">
                <a16:creationId xmlns:a16="http://schemas.microsoft.com/office/drawing/2014/main" id="{D25D4D2A-1104-4A77-B9CF-24FC5A081999}"/>
              </a:ext>
            </a:extLst>
          </p:cNvPr>
          <p:cNvSpPr/>
          <p:nvPr/>
        </p:nvSpPr>
        <p:spPr>
          <a:xfrm>
            <a:off x="5746999" y="3707888"/>
            <a:ext cx="182042" cy="204949"/>
          </a:xfrm>
          <a:prstGeom prst="rect">
            <a:avLst/>
          </a:prstGeom>
          <a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37" name="object 74">
            <a:extLst>
              <a:ext uri="{FF2B5EF4-FFF2-40B4-BE49-F238E27FC236}">
                <a16:creationId xmlns:a16="http://schemas.microsoft.com/office/drawing/2014/main" id="{F2793948-3991-4FE8-97B6-94A7AA4CF033}"/>
              </a:ext>
            </a:extLst>
          </p:cNvPr>
          <p:cNvSpPr/>
          <p:nvPr/>
        </p:nvSpPr>
        <p:spPr>
          <a:xfrm>
            <a:off x="5885009" y="3749488"/>
            <a:ext cx="182042" cy="204949"/>
          </a:xfrm>
          <a:prstGeom prst="rect">
            <a:avLst/>
          </a:prstGeom>
          <a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38" name="object 74">
            <a:extLst>
              <a:ext uri="{FF2B5EF4-FFF2-40B4-BE49-F238E27FC236}">
                <a16:creationId xmlns:a16="http://schemas.microsoft.com/office/drawing/2014/main" id="{1BA81406-C0A7-4C19-8A2F-6C5C708D7D52}"/>
              </a:ext>
            </a:extLst>
          </p:cNvPr>
          <p:cNvSpPr/>
          <p:nvPr/>
        </p:nvSpPr>
        <p:spPr>
          <a:xfrm>
            <a:off x="5755336" y="3825118"/>
            <a:ext cx="182042" cy="204949"/>
          </a:xfrm>
          <a:prstGeom prst="rect">
            <a:avLst/>
          </a:prstGeom>
          <a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8EA1352C-4C7C-43E3-A981-8244758C8778}"/>
              </a:ext>
            </a:extLst>
          </p:cNvPr>
          <p:cNvSpPr txBox="1"/>
          <p:nvPr/>
        </p:nvSpPr>
        <p:spPr>
          <a:xfrm>
            <a:off x="5299888" y="3417352"/>
            <a:ext cx="878045" cy="184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err="1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Leverandør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14458E5C-C0A2-4B42-92C1-A3BA1CEACA4A}"/>
              </a:ext>
            </a:extLst>
          </p:cNvPr>
          <p:cNvGrpSpPr/>
          <p:nvPr/>
        </p:nvGrpSpPr>
        <p:grpSpPr>
          <a:xfrm>
            <a:off x="7250315" y="1521875"/>
            <a:ext cx="1135897" cy="1187442"/>
            <a:chOff x="3467100" y="1822704"/>
            <a:chExt cx="1417447" cy="1481455"/>
          </a:xfrm>
        </p:grpSpPr>
        <p:sp>
          <p:nvSpPr>
            <p:cNvPr id="49" name="object 17">
              <a:extLst>
                <a:ext uri="{FF2B5EF4-FFF2-40B4-BE49-F238E27FC236}">
                  <a16:creationId xmlns:a16="http://schemas.microsoft.com/office/drawing/2014/main" id="{65B23D8B-79FA-4A6C-8F64-3687403E7966}"/>
                </a:ext>
              </a:extLst>
            </p:cNvPr>
            <p:cNvSpPr/>
            <p:nvPr/>
          </p:nvSpPr>
          <p:spPr>
            <a:xfrm>
              <a:off x="3550284" y="1898904"/>
              <a:ext cx="1259840" cy="1405255"/>
            </a:xfrm>
            <a:custGeom>
              <a:avLst/>
              <a:gdLst/>
              <a:ahLst/>
              <a:cxnLst/>
              <a:rect l="l" t="t" r="r" b="b"/>
              <a:pathLst>
                <a:path w="1259839" h="1405254">
                  <a:moveTo>
                    <a:pt x="556132" y="0"/>
                  </a:moveTo>
                  <a:lnTo>
                    <a:pt x="604293" y="1620"/>
                  </a:lnTo>
                  <a:lnTo>
                    <a:pt x="651582" y="6414"/>
                  </a:lnTo>
                  <a:lnTo>
                    <a:pt x="697894" y="14274"/>
                  </a:lnTo>
                  <a:lnTo>
                    <a:pt x="743124" y="25098"/>
                  </a:lnTo>
                  <a:lnTo>
                    <a:pt x="787169" y="38780"/>
                  </a:lnTo>
                  <a:lnTo>
                    <a:pt x="829923" y="55215"/>
                  </a:lnTo>
                  <a:lnTo>
                    <a:pt x="871281" y="74299"/>
                  </a:lnTo>
                  <a:lnTo>
                    <a:pt x="911140" y="95927"/>
                  </a:lnTo>
                  <a:lnTo>
                    <a:pt x="949394" y="119994"/>
                  </a:lnTo>
                  <a:lnTo>
                    <a:pt x="985938" y="146397"/>
                  </a:lnTo>
                  <a:lnTo>
                    <a:pt x="1020669" y="175029"/>
                  </a:lnTo>
                  <a:lnTo>
                    <a:pt x="1053480" y="205787"/>
                  </a:lnTo>
                  <a:lnTo>
                    <a:pt x="1084269" y="238566"/>
                  </a:lnTo>
                  <a:lnTo>
                    <a:pt x="1112929" y="273261"/>
                  </a:lnTo>
                  <a:lnTo>
                    <a:pt x="1139356" y="309767"/>
                  </a:lnTo>
                  <a:lnTo>
                    <a:pt x="1163447" y="347980"/>
                  </a:lnTo>
                  <a:lnTo>
                    <a:pt x="1185094" y="387794"/>
                  </a:lnTo>
                  <a:lnTo>
                    <a:pt x="1204196" y="429107"/>
                  </a:lnTo>
                  <a:lnTo>
                    <a:pt x="1220645" y="471812"/>
                  </a:lnTo>
                  <a:lnTo>
                    <a:pt x="1234339" y="515805"/>
                  </a:lnTo>
                  <a:lnTo>
                    <a:pt x="1245172" y="560981"/>
                  </a:lnTo>
                  <a:lnTo>
                    <a:pt x="1253039" y="607236"/>
                  </a:lnTo>
                  <a:lnTo>
                    <a:pt x="1257836" y="654465"/>
                  </a:lnTo>
                  <a:lnTo>
                    <a:pt x="1259459" y="702563"/>
                  </a:lnTo>
                  <a:lnTo>
                    <a:pt x="1257836" y="750662"/>
                  </a:lnTo>
                  <a:lnTo>
                    <a:pt x="1253039" y="797891"/>
                  </a:lnTo>
                  <a:lnTo>
                    <a:pt x="1245172" y="844146"/>
                  </a:lnTo>
                  <a:lnTo>
                    <a:pt x="1234339" y="889322"/>
                  </a:lnTo>
                  <a:lnTo>
                    <a:pt x="1220645" y="933315"/>
                  </a:lnTo>
                  <a:lnTo>
                    <a:pt x="1204196" y="976020"/>
                  </a:lnTo>
                  <a:lnTo>
                    <a:pt x="1185094" y="1017333"/>
                  </a:lnTo>
                  <a:lnTo>
                    <a:pt x="1163447" y="1057147"/>
                  </a:lnTo>
                  <a:lnTo>
                    <a:pt x="1139356" y="1095360"/>
                  </a:lnTo>
                  <a:lnTo>
                    <a:pt x="1112929" y="1131866"/>
                  </a:lnTo>
                  <a:lnTo>
                    <a:pt x="1084269" y="1166561"/>
                  </a:lnTo>
                  <a:lnTo>
                    <a:pt x="1053480" y="1199340"/>
                  </a:lnTo>
                  <a:lnTo>
                    <a:pt x="1020669" y="1230098"/>
                  </a:lnTo>
                  <a:lnTo>
                    <a:pt x="985938" y="1258730"/>
                  </a:lnTo>
                  <a:lnTo>
                    <a:pt x="949394" y="1285133"/>
                  </a:lnTo>
                  <a:lnTo>
                    <a:pt x="911140" y="1309200"/>
                  </a:lnTo>
                  <a:lnTo>
                    <a:pt x="871281" y="1330828"/>
                  </a:lnTo>
                  <a:lnTo>
                    <a:pt x="829923" y="1349912"/>
                  </a:lnTo>
                  <a:lnTo>
                    <a:pt x="787169" y="1366347"/>
                  </a:lnTo>
                  <a:lnTo>
                    <a:pt x="743124" y="1380029"/>
                  </a:lnTo>
                  <a:lnTo>
                    <a:pt x="697894" y="1390853"/>
                  </a:lnTo>
                  <a:lnTo>
                    <a:pt x="651582" y="1398713"/>
                  </a:lnTo>
                  <a:lnTo>
                    <a:pt x="604293" y="1403507"/>
                  </a:lnTo>
                  <a:lnTo>
                    <a:pt x="556132" y="1405128"/>
                  </a:lnTo>
                  <a:lnTo>
                    <a:pt x="506172" y="1403355"/>
                  </a:lnTo>
                  <a:lnTo>
                    <a:pt x="456808" y="1398092"/>
                  </a:lnTo>
                  <a:lnTo>
                    <a:pt x="408205" y="1389418"/>
                  </a:lnTo>
                  <a:lnTo>
                    <a:pt x="360525" y="1377414"/>
                  </a:lnTo>
                  <a:lnTo>
                    <a:pt x="313933" y="1362159"/>
                  </a:lnTo>
                  <a:lnTo>
                    <a:pt x="268593" y="1343733"/>
                  </a:lnTo>
                  <a:lnTo>
                    <a:pt x="224667" y="1322217"/>
                  </a:lnTo>
                  <a:lnTo>
                    <a:pt x="182321" y="1297691"/>
                  </a:lnTo>
                  <a:lnTo>
                    <a:pt x="141717" y="1270235"/>
                  </a:lnTo>
                  <a:lnTo>
                    <a:pt x="103019" y="1239929"/>
                  </a:lnTo>
                  <a:lnTo>
                    <a:pt x="66391" y="1206853"/>
                  </a:lnTo>
                  <a:lnTo>
                    <a:pt x="31997" y="1171088"/>
                  </a:lnTo>
                  <a:lnTo>
                    <a:pt x="0" y="1132713"/>
                  </a:lnTo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50" name="object 18">
              <a:extLst>
                <a:ext uri="{FF2B5EF4-FFF2-40B4-BE49-F238E27FC236}">
                  <a16:creationId xmlns:a16="http://schemas.microsoft.com/office/drawing/2014/main" id="{23B572A4-7DCB-4EDC-8F47-5E10B70D2F11}"/>
                </a:ext>
              </a:extLst>
            </p:cNvPr>
            <p:cNvSpPr/>
            <p:nvPr/>
          </p:nvSpPr>
          <p:spPr>
            <a:xfrm>
              <a:off x="3467100" y="1962911"/>
              <a:ext cx="1278890" cy="1277620"/>
            </a:xfrm>
            <a:custGeom>
              <a:avLst/>
              <a:gdLst/>
              <a:ahLst/>
              <a:cxnLst/>
              <a:rect l="l" t="t" r="r" b="b"/>
              <a:pathLst>
                <a:path w="1278889" h="1277620">
                  <a:moveTo>
                    <a:pt x="639317" y="0"/>
                  </a:moveTo>
                  <a:lnTo>
                    <a:pt x="687027" y="1751"/>
                  </a:lnTo>
                  <a:lnTo>
                    <a:pt x="733785" y="6923"/>
                  </a:lnTo>
                  <a:lnTo>
                    <a:pt x="779468" y="15392"/>
                  </a:lnTo>
                  <a:lnTo>
                    <a:pt x="823952" y="27034"/>
                  </a:lnTo>
                  <a:lnTo>
                    <a:pt x="867112" y="41727"/>
                  </a:lnTo>
                  <a:lnTo>
                    <a:pt x="908827" y="59346"/>
                  </a:lnTo>
                  <a:lnTo>
                    <a:pt x="948971" y="79769"/>
                  </a:lnTo>
                  <a:lnTo>
                    <a:pt x="987422" y="102871"/>
                  </a:lnTo>
                  <a:lnTo>
                    <a:pt x="1024055" y="128530"/>
                  </a:lnTo>
                  <a:lnTo>
                    <a:pt x="1058747" y="156622"/>
                  </a:lnTo>
                  <a:lnTo>
                    <a:pt x="1091374" y="187023"/>
                  </a:lnTo>
                  <a:lnTo>
                    <a:pt x="1121813" y="219610"/>
                  </a:lnTo>
                  <a:lnTo>
                    <a:pt x="1149940" y="254260"/>
                  </a:lnTo>
                  <a:lnTo>
                    <a:pt x="1175631" y="290849"/>
                  </a:lnTo>
                  <a:lnTo>
                    <a:pt x="1198763" y="329253"/>
                  </a:lnTo>
                  <a:lnTo>
                    <a:pt x="1219212" y="369350"/>
                  </a:lnTo>
                  <a:lnTo>
                    <a:pt x="1236854" y="411016"/>
                  </a:lnTo>
                  <a:lnTo>
                    <a:pt x="1251565" y="454127"/>
                  </a:lnTo>
                  <a:lnTo>
                    <a:pt x="1263223" y="498560"/>
                  </a:lnTo>
                  <a:lnTo>
                    <a:pt x="1271703" y="544191"/>
                  </a:lnTo>
                  <a:lnTo>
                    <a:pt x="1276882" y="590898"/>
                  </a:lnTo>
                  <a:lnTo>
                    <a:pt x="1278636" y="638555"/>
                  </a:lnTo>
                  <a:lnTo>
                    <a:pt x="1276882" y="686213"/>
                  </a:lnTo>
                  <a:lnTo>
                    <a:pt x="1271703" y="732920"/>
                  </a:lnTo>
                  <a:lnTo>
                    <a:pt x="1263223" y="778551"/>
                  </a:lnTo>
                  <a:lnTo>
                    <a:pt x="1251565" y="822984"/>
                  </a:lnTo>
                  <a:lnTo>
                    <a:pt x="1236854" y="866095"/>
                  </a:lnTo>
                  <a:lnTo>
                    <a:pt x="1219212" y="907761"/>
                  </a:lnTo>
                  <a:lnTo>
                    <a:pt x="1198763" y="947858"/>
                  </a:lnTo>
                  <a:lnTo>
                    <a:pt x="1175631" y="986262"/>
                  </a:lnTo>
                  <a:lnTo>
                    <a:pt x="1149940" y="1022851"/>
                  </a:lnTo>
                  <a:lnTo>
                    <a:pt x="1121813" y="1057501"/>
                  </a:lnTo>
                  <a:lnTo>
                    <a:pt x="1091374" y="1090088"/>
                  </a:lnTo>
                  <a:lnTo>
                    <a:pt x="1058747" y="1120489"/>
                  </a:lnTo>
                  <a:lnTo>
                    <a:pt x="1024055" y="1148581"/>
                  </a:lnTo>
                  <a:lnTo>
                    <a:pt x="987422" y="1174240"/>
                  </a:lnTo>
                  <a:lnTo>
                    <a:pt x="948971" y="1197342"/>
                  </a:lnTo>
                  <a:lnTo>
                    <a:pt x="908827" y="1217765"/>
                  </a:lnTo>
                  <a:lnTo>
                    <a:pt x="867112" y="1235384"/>
                  </a:lnTo>
                  <a:lnTo>
                    <a:pt x="823952" y="1250077"/>
                  </a:lnTo>
                  <a:lnTo>
                    <a:pt x="779468" y="1261719"/>
                  </a:lnTo>
                  <a:lnTo>
                    <a:pt x="733785" y="1270188"/>
                  </a:lnTo>
                  <a:lnTo>
                    <a:pt x="687027" y="1275360"/>
                  </a:lnTo>
                  <a:lnTo>
                    <a:pt x="639317" y="1277112"/>
                  </a:lnTo>
                  <a:lnTo>
                    <a:pt x="591608" y="1275360"/>
                  </a:lnTo>
                  <a:lnTo>
                    <a:pt x="544850" y="1270188"/>
                  </a:lnTo>
                  <a:lnTo>
                    <a:pt x="499167" y="1261719"/>
                  </a:lnTo>
                  <a:lnTo>
                    <a:pt x="454683" y="1250077"/>
                  </a:lnTo>
                  <a:lnTo>
                    <a:pt x="411523" y="1235384"/>
                  </a:lnTo>
                  <a:lnTo>
                    <a:pt x="369808" y="1217765"/>
                  </a:lnTo>
                  <a:lnTo>
                    <a:pt x="329664" y="1197342"/>
                  </a:lnTo>
                  <a:lnTo>
                    <a:pt x="291213" y="1174240"/>
                  </a:lnTo>
                  <a:lnTo>
                    <a:pt x="254580" y="1148581"/>
                  </a:lnTo>
                  <a:lnTo>
                    <a:pt x="219888" y="1120489"/>
                  </a:lnTo>
                  <a:lnTo>
                    <a:pt x="187261" y="1090088"/>
                  </a:lnTo>
                  <a:lnTo>
                    <a:pt x="156822" y="1057501"/>
                  </a:lnTo>
                  <a:lnTo>
                    <a:pt x="128695" y="1022851"/>
                  </a:lnTo>
                  <a:lnTo>
                    <a:pt x="103004" y="986262"/>
                  </a:lnTo>
                  <a:lnTo>
                    <a:pt x="79872" y="947858"/>
                  </a:lnTo>
                  <a:lnTo>
                    <a:pt x="59423" y="907761"/>
                  </a:lnTo>
                  <a:lnTo>
                    <a:pt x="41781" y="866095"/>
                  </a:lnTo>
                  <a:lnTo>
                    <a:pt x="27070" y="822984"/>
                  </a:lnTo>
                  <a:lnTo>
                    <a:pt x="15412" y="778551"/>
                  </a:lnTo>
                  <a:lnTo>
                    <a:pt x="6932" y="732920"/>
                  </a:lnTo>
                  <a:lnTo>
                    <a:pt x="1753" y="686213"/>
                  </a:lnTo>
                  <a:lnTo>
                    <a:pt x="0" y="638555"/>
                  </a:lnTo>
                  <a:lnTo>
                    <a:pt x="2217" y="585401"/>
                  </a:lnTo>
                  <a:lnTo>
                    <a:pt x="8812" y="532886"/>
                  </a:lnTo>
                  <a:lnTo>
                    <a:pt x="19696" y="481266"/>
                  </a:lnTo>
                  <a:lnTo>
                    <a:pt x="34782" y="430799"/>
                  </a:lnTo>
                  <a:lnTo>
                    <a:pt x="53981" y="381744"/>
                  </a:lnTo>
                  <a:lnTo>
                    <a:pt x="77206" y="334357"/>
                  </a:lnTo>
                  <a:lnTo>
                    <a:pt x="104368" y="288895"/>
                  </a:lnTo>
                  <a:lnTo>
                    <a:pt x="135382" y="245617"/>
                  </a:lnTo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51" name="object 19">
              <a:extLst>
                <a:ext uri="{FF2B5EF4-FFF2-40B4-BE49-F238E27FC236}">
                  <a16:creationId xmlns:a16="http://schemas.microsoft.com/office/drawing/2014/main" id="{1C32FC2F-0FD7-4B18-BBA7-AE526708D939}"/>
                </a:ext>
              </a:extLst>
            </p:cNvPr>
            <p:cNvSpPr/>
            <p:nvPr/>
          </p:nvSpPr>
          <p:spPr>
            <a:xfrm>
              <a:off x="4111752" y="1822704"/>
              <a:ext cx="772795" cy="1082675"/>
            </a:xfrm>
            <a:custGeom>
              <a:avLst/>
              <a:gdLst/>
              <a:ahLst/>
              <a:cxnLst/>
              <a:rect l="l" t="t" r="r" b="b"/>
              <a:pathLst>
                <a:path w="772795" h="1082675">
                  <a:moveTo>
                    <a:pt x="0" y="0"/>
                  </a:moveTo>
                  <a:lnTo>
                    <a:pt x="48863" y="1521"/>
                  </a:lnTo>
                  <a:lnTo>
                    <a:pt x="96919" y="6026"/>
                  </a:lnTo>
                  <a:lnTo>
                    <a:pt x="144077" y="13424"/>
                  </a:lnTo>
                  <a:lnTo>
                    <a:pt x="190246" y="23624"/>
                  </a:lnTo>
                  <a:lnTo>
                    <a:pt x="235337" y="36535"/>
                  </a:lnTo>
                  <a:lnTo>
                    <a:pt x="279258" y="52067"/>
                  </a:lnTo>
                  <a:lnTo>
                    <a:pt x="321919" y="70128"/>
                  </a:lnTo>
                  <a:lnTo>
                    <a:pt x="363229" y="90629"/>
                  </a:lnTo>
                  <a:lnTo>
                    <a:pt x="403098" y="113479"/>
                  </a:lnTo>
                  <a:lnTo>
                    <a:pt x="441436" y="138587"/>
                  </a:lnTo>
                  <a:lnTo>
                    <a:pt x="478151" y="165862"/>
                  </a:lnTo>
                  <a:lnTo>
                    <a:pt x="513154" y="195214"/>
                  </a:lnTo>
                  <a:lnTo>
                    <a:pt x="546354" y="226552"/>
                  </a:lnTo>
                  <a:lnTo>
                    <a:pt x="577659" y="259785"/>
                  </a:lnTo>
                  <a:lnTo>
                    <a:pt x="606981" y="294823"/>
                  </a:lnTo>
                  <a:lnTo>
                    <a:pt x="634228" y="331575"/>
                  </a:lnTo>
                  <a:lnTo>
                    <a:pt x="659309" y="369951"/>
                  </a:lnTo>
                  <a:lnTo>
                    <a:pt x="682135" y="409859"/>
                  </a:lnTo>
                  <a:lnTo>
                    <a:pt x="702614" y="451210"/>
                  </a:lnTo>
                  <a:lnTo>
                    <a:pt x="720657" y="493912"/>
                  </a:lnTo>
                  <a:lnTo>
                    <a:pt x="736172" y="537875"/>
                  </a:lnTo>
                  <a:lnTo>
                    <a:pt x="749069" y="583008"/>
                  </a:lnTo>
                  <a:lnTo>
                    <a:pt x="759257" y="629221"/>
                  </a:lnTo>
                  <a:lnTo>
                    <a:pt x="766647" y="676422"/>
                  </a:lnTo>
                  <a:lnTo>
                    <a:pt x="771147" y="724522"/>
                  </a:lnTo>
                  <a:lnTo>
                    <a:pt x="772668" y="773430"/>
                  </a:lnTo>
                  <a:lnTo>
                    <a:pt x="770853" y="826453"/>
                  </a:lnTo>
                  <a:lnTo>
                    <a:pt x="765433" y="879103"/>
                  </a:lnTo>
                  <a:lnTo>
                    <a:pt x="756443" y="931195"/>
                  </a:lnTo>
                  <a:lnTo>
                    <a:pt x="743918" y="982547"/>
                  </a:lnTo>
                  <a:lnTo>
                    <a:pt x="727894" y="1032974"/>
                  </a:lnTo>
                  <a:lnTo>
                    <a:pt x="708406" y="1082294"/>
                  </a:lnTo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52" name="object 40">
              <a:extLst>
                <a:ext uri="{FF2B5EF4-FFF2-40B4-BE49-F238E27FC236}">
                  <a16:creationId xmlns:a16="http://schemas.microsoft.com/office/drawing/2014/main" id="{7EF63173-29AE-4530-ABC4-DAAE69C69A00}"/>
                </a:ext>
              </a:extLst>
            </p:cNvPr>
            <p:cNvSpPr/>
            <p:nvPr/>
          </p:nvSpPr>
          <p:spPr>
            <a:xfrm>
              <a:off x="3547109" y="2032254"/>
              <a:ext cx="1130935" cy="1130935"/>
            </a:xfrm>
            <a:custGeom>
              <a:avLst/>
              <a:gdLst/>
              <a:ahLst/>
              <a:cxnLst/>
              <a:rect l="l" t="t" r="r" b="b"/>
              <a:pathLst>
                <a:path w="1130935" h="1130935">
                  <a:moveTo>
                    <a:pt x="565403" y="0"/>
                  </a:moveTo>
                  <a:lnTo>
                    <a:pt x="516614" y="2075"/>
                  </a:lnTo>
                  <a:lnTo>
                    <a:pt x="468978" y="8187"/>
                  </a:lnTo>
                  <a:lnTo>
                    <a:pt x="422665" y="18167"/>
                  </a:lnTo>
                  <a:lnTo>
                    <a:pt x="377844" y="31845"/>
                  </a:lnTo>
                  <a:lnTo>
                    <a:pt x="334686" y="49051"/>
                  </a:lnTo>
                  <a:lnTo>
                    <a:pt x="293360" y="69615"/>
                  </a:lnTo>
                  <a:lnTo>
                    <a:pt x="254034" y="93369"/>
                  </a:lnTo>
                  <a:lnTo>
                    <a:pt x="216881" y="120142"/>
                  </a:lnTo>
                  <a:lnTo>
                    <a:pt x="182067" y="149765"/>
                  </a:lnTo>
                  <a:lnTo>
                    <a:pt x="149765" y="182067"/>
                  </a:lnTo>
                  <a:lnTo>
                    <a:pt x="120142" y="216881"/>
                  </a:lnTo>
                  <a:lnTo>
                    <a:pt x="93369" y="254034"/>
                  </a:lnTo>
                  <a:lnTo>
                    <a:pt x="69615" y="293360"/>
                  </a:lnTo>
                  <a:lnTo>
                    <a:pt x="49051" y="334686"/>
                  </a:lnTo>
                  <a:lnTo>
                    <a:pt x="31845" y="377844"/>
                  </a:lnTo>
                  <a:lnTo>
                    <a:pt x="18167" y="422665"/>
                  </a:lnTo>
                  <a:lnTo>
                    <a:pt x="8187" y="468978"/>
                  </a:lnTo>
                  <a:lnTo>
                    <a:pt x="2075" y="516614"/>
                  </a:lnTo>
                  <a:lnTo>
                    <a:pt x="0" y="565404"/>
                  </a:lnTo>
                  <a:lnTo>
                    <a:pt x="2075" y="614193"/>
                  </a:lnTo>
                  <a:lnTo>
                    <a:pt x="8187" y="661829"/>
                  </a:lnTo>
                  <a:lnTo>
                    <a:pt x="18167" y="708142"/>
                  </a:lnTo>
                  <a:lnTo>
                    <a:pt x="31845" y="752963"/>
                  </a:lnTo>
                  <a:lnTo>
                    <a:pt x="49051" y="796121"/>
                  </a:lnTo>
                  <a:lnTo>
                    <a:pt x="69615" y="837447"/>
                  </a:lnTo>
                  <a:lnTo>
                    <a:pt x="93369" y="876773"/>
                  </a:lnTo>
                  <a:lnTo>
                    <a:pt x="120142" y="913926"/>
                  </a:lnTo>
                  <a:lnTo>
                    <a:pt x="149765" y="948740"/>
                  </a:lnTo>
                  <a:lnTo>
                    <a:pt x="182067" y="981042"/>
                  </a:lnTo>
                  <a:lnTo>
                    <a:pt x="216881" y="1010665"/>
                  </a:lnTo>
                  <a:lnTo>
                    <a:pt x="254034" y="1037438"/>
                  </a:lnTo>
                  <a:lnTo>
                    <a:pt x="293360" y="1061192"/>
                  </a:lnTo>
                  <a:lnTo>
                    <a:pt x="334686" y="1081756"/>
                  </a:lnTo>
                  <a:lnTo>
                    <a:pt x="377844" y="1098962"/>
                  </a:lnTo>
                  <a:lnTo>
                    <a:pt x="422665" y="1112640"/>
                  </a:lnTo>
                  <a:lnTo>
                    <a:pt x="468978" y="1122620"/>
                  </a:lnTo>
                  <a:lnTo>
                    <a:pt x="516614" y="1128732"/>
                  </a:lnTo>
                  <a:lnTo>
                    <a:pt x="565403" y="1130808"/>
                  </a:lnTo>
                  <a:lnTo>
                    <a:pt x="614193" y="1128732"/>
                  </a:lnTo>
                  <a:lnTo>
                    <a:pt x="661829" y="1122620"/>
                  </a:lnTo>
                  <a:lnTo>
                    <a:pt x="708142" y="1112640"/>
                  </a:lnTo>
                  <a:lnTo>
                    <a:pt x="752963" y="1098962"/>
                  </a:lnTo>
                  <a:lnTo>
                    <a:pt x="796121" y="1081756"/>
                  </a:lnTo>
                  <a:lnTo>
                    <a:pt x="837447" y="1061192"/>
                  </a:lnTo>
                  <a:lnTo>
                    <a:pt x="876773" y="1037438"/>
                  </a:lnTo>
                  <a:lnTo>
                    <a:pt x="913926" y="1010665"/>
                  </a:lnTo>
                  <a:lnTo>
                    <a:pt x="948740" y="981042"/>
                  </a:lnTo>
                  <a:lnTo>
                    <a:pt x="981042" y="948740"/>
                  </a:lnTo>
                  <a:lnTo>
                    <a:pt x="1010665" y="913926"/>
                  </a:lnTo>
                  <a:lnTo>
                    <a:pt x="1037438" y="876773"/>
                  </a:lnTo>
                  <a:lnTo>
                    <a:pt x="1061192" y="837447"/>
                  </a:lnTo>
                  <a:lnTo>
                    <a:pt x="1081756" y="796121"/>
                  </a:lnTo>
                  <a:lnTo>
                    <a:pt x="1098962" y="752963"/>
                  </a:lnTo>
                  <a:lnTo>
                    <a:pt x="1112640" y="708142"/>
                  </a:lnTo>
                  <a:lnTo>
                    <a:pt x="1122620" y="661829"/>
                  </a:lnTo>
                  <a:lnTo>
                    <a:pt x="1128732" y="614193"/>
                  </a:lnTo>
                  <a:lnTo>
                    <a:pt x="1130807" y="565404"/>
                  </a:lnTo>
                  <a:lnTo>
                    <a:pt x="1128732" y="516614"/>
                  </a:lnTo>
                  <a:lnTo>
                    <a:pt x="1122620" y="468978"/>
                  </a:lnTo>
                  <a:lnTo>
                    <a:pt x="1112640" y="422665"/>
                  </a:lnTo>
                  <a:lnTo>
                    <a:pt x="1098962" y="377844"/>
                  </a:lnTo>
                  <a:lnTo>
                    <a:pt x="1081756" y="334686"/>
                  </a:lnTo>
                  <a:lnTo>
                    <a:pt x="1061192" y="293360"/>
                  </a:lnTo>
                  <a:lnTo>
                    <a:pt x="1037438" y="254034"/>
                  </a:lnTo>
                  <a:lnTo>
                    <a:pt x="1010665" y="216881"/>
                  </a:lnTo>
                  <a:lnTo>
                    <a:pt x="981042" y="182067"/>
                  </a:lnTo>
                  <a:lnTo>
                    <a:pt x="948740" y="149765"/>
                  </a:lnTo>
                  <a:lnTo>
                    <a:pt x="913926" y="120142"/>
                  </a:lnTo>
                  <a:lnTo>
                    <a:pt x="876773" y="93369"/>
                  </a:lnTo>
                  <a:lnTo>
                    <a:pt x="837447" y="69615"/>
                  </a:lnTo>
                  <a:lnTo>
                    <a:pt x="796121" y="49051"/>
                  </a:lnTo>
                  <a:lnTo>
                    <a:pt x="752963" y="31845"/>
                  </a:lnTo>
                  <a:lnTo>
                    <a:pt x="708142" y="18167"/>
                  </a:lnTo>
                  <a:lnTo>
                    <a:pt x="661829" y="8187"/>
                  </a:lnTo>
                  <a:lnTo>
                    <a:pt x="614193" y="2075"/>
                  </a:lnTo>
                  <a:lnTo>
                    <a:pt x="565403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53" name="object 41">
              <a:extLst>
                <a:ext uri="{FF2B5EF4-FFF2-40B4-BE49-F238E27FC236}">
                  <a16:creationId xmlns:a16="http://schemas.microsoft.com/office/drawing/2014/main" id="{9A541F79-BC91-4AFA-ADC1-85D472B392DD}"/>
                </a:ext>
              </a:extLst>
            </p:cNvPr>
            <p:cNvSpPr/>
            <p:nvPr/>
          </p:nvSpPr>
          <p:spPr>
            <a:xfrm>
              <a:off x="3547109" y="2032254"/>
              <a:ext cx="1130935" cy="1130935"/>
            </a:xfrm>
            <a:custGeom>
              <a:avLst/>
              <a:gdLst/>
              <a:ahLst/>
              <a:cxnLst/>
              <a:rect l="l" t="t" r="r" b="b"/>
              <a:pathLst>
                <a:path w="1130935" h="1130935">
                  <a:moveTo>
                    <a:pt x="0" y="565404"/>
                  </a:moveTo>
                  <a:lnTo>
                    <a:pt x="2075" y="516614"/>
                  </a:lnTo>
                  <a:lnTo>
                    <a:pt x="8187" y="468978"/>
                  </a:lnTo>
                  <a:lnTo>
                    <a:pt x="18167" y="422665"/>
                  </a:lnTo>
                  <a:lnTo>
                    <a:pt x="31845" y="377844"/>
                  </a:lnTo>
                  <a:lnTo>
                    <a:pt x="49051" y="334686"/>
                  </a:lnTo>
                  <a:lnTo>
                    <a:pt x="69615" y="293360"/>
                  </a:lnTo>
                  <a:lnTo>
                    <a:pt x="93369" y="254034"/>
                  </a:lnTo>
                  <a:lnTo>
                    <a:pt x="120142" y="216881"/>
                  </a:lnTo>
                  <a:lnTo>
                    <a:pt x="149765" y="182067"/>
                  </a:lnTo>
                  <a:lnTo>
                    <a:pt x="182067" y="149765"/>
                  </a:lnTo>
                  <a:lnTo>
                    <a:pt x="216881" y="120142"/>
                  </a:lnTo>
                  <a:lnTo>
                    <a:pt x="254034" y="93369"/>
                  </a:lnTo>
                  <a:lnTo>
                    <a:pt x="293360" y="69615"/>
                  </a:lnTo>
                  <a:lnTo>
                    <a:pt x="334686" y="49051"/>
                  </a:lnTo>
                  <a:lnTo>
                    <a:pt x="377844" y="31845"/>
                  </a:lnTo>
                  <a:lnTo>
                    <a:pt x="422665" y="18167"/>
                  </a:lnTo>
                  <a:lnTo>
                    <a:pt x="468978" y="8187"/>
                  </a:lnTo>
                  <a:lnTo>
                    <a:pt x="516614" y="2075"/>
                  </a:lnTo>
                  <a:lnTo>
                    <a:pt x="565403" y="0"/>
                  </a:lnTo>
                  <a:lnTo>
                    <a:pt x="614193" y="2075"/>
                  </a:lnTo>
                  <a:lnTo>
                    <a:pt x="661829" y="8187"/>
                  </a:lnTo>
                  <a:lnTo>
                    <a:pt x="708142" y="18167"/>
                  </a:lnTo>
                  <a:lnTo>
                    <a:pt x="752963" y="31845"/>
                  </a:lnTo>
                  <a:lnTo>
                    <a:pt x="796121" y="49051"/>
                  </a:lnTo>
                  <a:lnTo>
                    <a:pt x="837447" y="69615"/>
                  </a:lnTo>
                  <a:lnTo>
                    <a:pt x="876773" y="93369"/>
                  </a:lnTo>
                  <a:lnTo>
                    <a:pt x="913926" y="120142"/>
                  </a:lnTo>
                  <a:lnTo>
                    <a:pt x="948740" y="149765"/>
                  </a:lnTo>
                  <a:lnTo>
                    <a:pt x="981042" y="182067"/>
                  </a:lnTo>
                  <a:lnTo>
                    <a:pt x="1010665" y="216881"/>
                  </a:lnTo>
                  <a:lnTo>
                    <a:pt x="1037438" y="254034"/>
                  </a:lnTo>
                  <a:lnTo>
                    <a:pt x="1061192" y="293360"/>
                  </a:lnTo>
                  <a:lnTo>
                    <a:pt x="1081756" y="334686"/>
                  </a:lnTo>
                  <a:lnTo>
                    <a:pt x="1098962" y="377844"/>
                  </a:lnTo>
                  <a:lnTo>
                    <a:pt x="1112640" y="422665"/>
                  </a:lnTo>
                  <a:lnTo>
                    <a:pt x="1122620" y="468978"/>
                  </a:lnTo>
                  <a:lnTo>
                    <a:pt x="1128732" y="516614"/>
                  </a:lnTo>
                  <a:lnTo>
                    <a:pt x="1130807" y="565404"/>
                  </a:lnTo>
                  <a:lnTo>
                    <a:pt x="1128732" y="614193"/>
                  </a:lnTo>
                  <a:lnTo>
                    <a:pt x="1122620" y="661829"/>
                  </a:lnTo>
                  <a:lnTo>
                    <a:pt x="1112640" y="708142"/>
                  </a:lnTo>
                  <a:lnTo>
                    <a:pt x="1098962" y="752963"/>
                  </a:lnTo>
                  <a:lnTo>
                    <a:pt x="1081756" y="796121"/>
                  </a:lnTo>
                  <a:lnTo>
                    <a:pt x="1061192" y="837447"/>
                  </a:lnTo>
                  <a:lnTo>
                    <a:pt x="1037438" y="876773"/>
                  </a:lnTo>
                  <a:lnTo>
                    <a:pt x="1010665" y="913926"/>
                  </a:lnTo>
                  <a:lnTo>
                    <a:pt x="981042" y="948740"/>
                  </a:lnTo>
                  <a:lnTo>
                    <a:pt x="948740" y="981042"/>
                  </a:lnTo>
                  <a:lnTo>
                    <a:pt x="913926" y="1010665"/>
                  </a:lnTo>
                  <a:lnTo>
                    <a:pt x="876773" y="1037438"/>
                  </a:lnTo>
                  <a:lnTo>
                    <a:pt x="837447" y="1061192"/>
                  </a:lnTo>
                  <a:lnTo>
                    <a:pt x="796121" y="1081756"/>
                  </a:lnTo>
                  <a:lnTo>
                    <a:pt x="752963" y="1098962"/>
                  </a:lnTo>
                  <a:lnTo>
                    <a:pt x="708142" y="1112640"/>
                  </a:lnTo>
                  <a:lnTo>
                    <a:pt x="661829" y="1122620"/>
                  </a:lnTo>
                  <a:lnTo>
                    <a:pt x="614193" y="1128732"/>
                  </a:lnTo>
                  <a:lnTo>
                    <a:pt x="565403" y="1130808"/>
                  </a:lnTo>
                  <a:lnTo>
                    <a:pt x="516614" y="1128732"/>
                  </a:lnTo>
                  <a:lnTo>
                    <a:pt x="468978" y="1122620"/>
                  </a:lnTo>
                  <a:lnTo>
                    <a:pt x="422665" y="1112640"/>
                  </a:lnTo>
                  <a:lnTo>
                    <a:pt x="377844" y="1098962"/>
                  </a:lnTo>
                  <a:lnTo>
                    <a:pt x="334686" y="1081756"/>
                  </a:lnTo>
                  <a:lnTo>
                    <a:pt x="293360" y="1061192"/>
                  </a:lnTo>
                  <a:lnTo>
                    <a:pt x="254034" y="1037438"/>
                  </a:lnTo>
                  <a:lnTo>
                    <a:pt x="216881" y="1010665"/>
                  </a:lnTo>
                  <a:lnTo>
                    <a:pt x="182067" y="981042"/>
                  </a:lnTo>
                  <a:lnTo>
                    <a:pt x="149765" y="948740"/>
                  </a:lnTo>
                  <a:lnTo>
                    <a:pt x="120142" y="913926"/>
                  </a:lnTo>
                  <a:lnTo>
                    <a:pt x="93369" y="876773"/>
                  </a:lnTo>
                  <a:lnTo>
                    <a:pt x="69615" y="837447"/>
                  </a:lnTo>
                  <a:lnTo>
                    <a:pt x="49051" y="796121"/>
                  </a:lnTo>
                  <a:lnTo>
                    <a:pt x="31845" y="752963"/>
                  </a:lnTo>
                  <a:lnTo>
                    <a:pt x="18167" y="708142"/>
                  </a:lnTo>
                  <a:lnTo>
                    <a:pt x="8187" y="661829"/>
                  </a:lnTo>
                  <a:lnTo>
                    <a:pt x="2075" y="614193"/>
                  </a:lnTo>
                  <a:lnTo>
                    <a:pt x="0" y="565404"/>
                  </a:lnTo>
                  <a:close/>
                </a:path>
              </a:pathLst>
            </a:custGeom>
            <a:ln w="19812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41" name="TextBox 40">
            <a:extLst>
              <a:ext uri="{FF2B5EF4-FFF2-40B4-BE49-F238E27FC236}">
                <a16:creationId xmlns:a16="http://schemas.microsoft.com/office/drawing/2014/main" id="{56936B04-848D-44A7-A90D-61DE09649593}"/>
              </a:ext>
            </a:extLst>
          </p:cNvPr>
          <p:cNvSpPr txBox="1"/>
          <p:nvPr/>
        </p:nvSpPr>
        <p:spPr>
          <a:xfrm>
            <a:off x="7367111" y="1761650"/>
            <a:ext cx="994499" cy="184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err="1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Behovshaver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42" name="object 8">
            <a:extLst>
              <a:ext uri="{FF2B5EF4-FFF2-40B4-BE49-F238E27FC236}">
                <a16:creationId xmlns:a16="http://schemas.microsoft.com/office/drawing/2014/main" id="{0899BD54-F8CB-43A0-86E6-42622584F09E}"/>
              </a:ext>
            </a:extLst>
          </p:cNvPr>
          <p:cNvSpPr/>
          <p:nvPr/>
        </p:nvSpPr>
        <p:spPr>
          <a:xfrm flipH="1">
            <a:off x="7809726" y="1970090"/>
            <a:ext cx="181479" cy="538893"/>
          </a:xfrm>
          <a:prstGeom prst="rect">
            <a:avLst/>
          </a:prstGeom>
          <a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43" name="Freeform 756">
            <a:extLst>
              <a:ext uri="{FF2B5EF4-FFF2-40B4-BE49-F238E27FC236}">
                <a16:creationId xmlns:a16="http://schemas.microsoft.com/office/drawing/2014/main" id="{B8B9A667-C6ED-4A8A-A75D-9F9684BD7D88}"/>
              </a:ext>
            </a:extLst>
          </p:cNvPr>
          <p:cNvSpPr>
            <a:spLocks noEditPoints="1"/>
          </p:cNvSpPr>
          <p:nvPr/>
        </p:nvSpPr>
        <p:spPr bwMode="auto">
          <a:xfrm>
            <a:off x="7486987" y="2144849"/>
            <a:ext cx="221878" cy="245023"/>
          </a:xfrm>
          <a:custGeom>
            <a:avLst/>
            <a:gdLst>
              <a:gd name="T0" fmla="*/ 165 w 299"/>
              <a:gd name="T1" fmla="*/ 29 h 299"/>
              <a:gd name="T2" fmla="*/ 121 w 299"/>
              <a:gd name="T3" fmla="*/ 24 h 299"/>
              <a:gd name="T4" fmla="*/ 154 w 299"/>
              <a:gd name="T5" fmla="*/ 1 h 299"/>
              <a:gd name="T6" fmla="*/ 64 w 299"/>
              <a:gd name="T7" fmla="*/ 61 h 299"/>
              <a:gd name="T8" fmla="*/ 107 w 299"/>
              <a:gd name="T9" fmla="*/ 31 h 299"/>
              <a:gd name="T10" fmla="*/ 54 w 299"/>
              <a:gd name="T11" fmla="*/ 55 h 299"/>
              <a:gd name="T12" fmla="*/ 26 w 299"/>
              <a:gd name="T13" fmla="*/ 56 h 299"/>
              <a:gd name="T14" fmla="*/ 0 w 299"/>
              <a:gd name="T15" fmla="*/ 96 h 299"/>
              <a:gd name="T16" fmla="*/ 22 w 299"/>
              <a:gd name="T17" fmla="*/ 91 h 299"/>
              <a:gd name="T18" fmla="*/ 40 w 299"/>
              <a:gd name="T19" fmla="*/ 88 h 299"/>
              <a:gd name="T20" fmla="*/ 59 w 299"/>
              <a:gd name="T21" fmla="*/ 109 h 299"/>
              <a:gd name="T22" fmla="*/ 107 w 299"/>
              <a:gd name="T23" fmla="*/ 119 h 299"/>
              <a:gd name="T24" fmla="*/ 54 w 299"/>
              <a:gd name="T25" fmla="*/ 95 h 299"/>
              <a:gd name="T26" fmla="*/ 150 w 299"/>
              <a:gd name="T27" fmla="*/ 127 h 299"/>
              <a:gd name="T28" fmla="*/ 126 w 299"/>
              <a:gd name="T29" fmla="*/ 139 h 299"/>
              <a:gd name="T30" fmla="*/ 150 w 299"/>
              <a:gd name="T31" fmla="*/ 171 h 299"/>
              <a:gd name="T32" fmla="*/ 174 w 299"/>
              <a:gd name="T33" fmla="*/ 139 h 299"/>
              <a:gd name="T34" fmla="*/ 231 w 299"/>
              <a:gd name="T35" fmla="*/ 89 h 299"/>
              <a:gd name="T36" fmla="*/ 202 w 299"/>
              <a:gd name="T37" fmla="*/ 125 h 299"/>
              <a:gd name="T38" fmla="*/ 245 w 299"/>
              <a:gd name="T39" fmla="*/ 95 h 299"/>
              <a:gd name="T40" fmla="*/ 273 w 299"/>
              <a:gd name="T41" fmla="*/ 56 h 299"/>
              <a:gd name="T42" fmla="*/ 259 w 299"/>
              <a:gd name="T43" fmla="*/ 88 h 299"/>
              <a:gd name="T44" fmla="*/ 278 w 299"/>
              <a:gd name="T45" fmla="*/ 91 h 299"/>
              <a:gd name="T46" fmla="*/ 299 w 299"/>
              <a:gd name="T47" fmla="*/ 96 h 299"/>
              <a:gd name="T48" fmla="*/ 240 w 299"/>
              <a:gd name="T49" fmla="*/ 41 h 299"/>
              <a:gd name="T50" fmla="*/ 198 w 299"/>
              <a:gd name="T51" fmla="*/ 45 h 299"/>
              <a:gd name="T52" fmla="*/ 245 w 299"/>
              <a:gd name="T53" fmla="*/ 55 h 299"/>
              <a:gd name="T54" fmla="*/ 22 w 299"/>
              <a:gd name="T55" fmla="*/ 160 h 299"/>
              <a:gd name="T56" fmla="*/ 0 w 299"/>
              <a:gd name="T57" fmla="*/ 128 h 299"/>
              <a:gd name="T58" fmla="*/ 35 w 299"/>
              <a:gd name="T59" fmla="*/ 214 h 299"/>
              <a:gd name="T60" fmla="*/ 11 w 299"/>
              <a:gd name="T61" fmla="*/ 181 h 299"/>
              <a:gd name="T62" fmla="*/ 6 w 299"/>
              <a:gd name="T63" fmla="*/ 223 h 299"/>
              <a:gd name="T64" fmla="*/ 39 w 299"/>
              <a:gd name="T65" fmla="*/ 229 h 299"/>
              <a:gd name="T66" fmla="*/ 69 w 299"/>
              <a:gd name="T67" fmla="*/ 232 h 299"/>
              <a:gd name="T68" fmla="*/ 92 w 299"/>
              <a:gd name="T69" fmla="*/ 269 h 299"/>
              <a:gd name="T70" fmla="*/ 102 w 299"/>
              <a:gd name="T71" fmla="*/ 250 h 299"/>
              <a:gd name="T72" fmla="*/ 160 w 299"/>
              <a:gd name="T73" fmla="*/ 203 h 299"/>
              <a:gd name="T74" fmla="*/ 139 w 299"/>
              <a:gd name="T75" fmla="*/ 235 h 299"/>
              <a:gd name="T76" fmla="*/ 160 w 299"/>
              <a:gd name="T77" fmla="*/ 271 h 299"/>
              <a:gd name="T78" fmla="*/ 139 w 299"/>
              <a:gd name="T79" fmla="*/ 267 h 299"/>
              <a:gd name="T80" fmla="*/ 121 w 299"/>
              <a:gd name="T81" fmla="*/ 273 h 299"/>
              <a:gd name="T82" fmla="*/ 150 w 299"/>
              <a:gd name="T83" fmla="*/ 299 h 299"/>
              <a:gd name="T84" fmla="*/ 174 w 299"/>
              <a:gd name="T85" fmla="*/ 289 h 299"/>
              <a:gd name="T86" fmla="*/ 231 w 299"/>
              <a:gd name="T87" fmla="*/ 239 h 299"/>
              <a:gd name="T88" fmla="*/ 202 w 299"/>
              <a:gd name="T89" fmla="*/ 274 h 299"/>
              <a:gd name="T90" fmla="*/ 245 w 299"/>
              <a:gd name="T91" fmla="*/ 244 h 299"/>
              <a:gd name="T92" fmla="*/ 278 w 299"/>
              <a:gd name="T93" fmla="*/ 203 h 299"/>
              <a:gd name="T94" fmla="*/ 259 w 299"/>
              <a:gd name="T95" fmla="*/ 237 h 299"/>
              <a:gd name="T96" fmla="*/ 293 w 299"/>
              <a:gd name="T97" fmla="*/ 234 h 299"/>
              <a:gd name="T98" fmla="*/ 288 w 299"/>
              <a:gd name="T99" fmla="*/ 192 h 299"/>
              <a:gd name="T100" fmla="*/ 278 w 299"/>
              <a:gd name="T101" fmla="*/ 171 h 299"/>
              <a:gd name="T102" fmla="*/ 299 w 299"/>
              <a:gd name="T103" fmla="*/ 139 h 2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299" h="299">
                <a:moveTo>
                  <a:pt x="179" y="24"/>
                </a:moveTo>
                <a:cubicBezTo>
                  <a:pt x="177" y="28"/>
                  <a:pt x="173" y="30"/>
                  <a:pt x="169" y="30"/>
                </a:cubicBezTo>
                <a:cubicBezTo>
                  <a:pt x="168" y="30"/>
                  <a:pt x="166" y="30"/>
                  <a:pt x="165" y="29"/>
                </a:cubicBezTo>
                <a:cubicBezTo>
                  <a:pt x="150" y="22"/>
                  <a:pt x="150" y="22"/>
                  <a:pt x="150" y="22"/>
                </a:cubicBezTo>
                <a:cubicBezTo>
                  <a:pt x="135" y="29"/>
                  <a:pt x="135" y="29"/>
                  <a:pt x="135" y="29"/>
                </a:cubicBezTo>
                <a:cubicBezTo>
                  <a:pt x="129" y="32"/>
                  <a:pt x="123" y="29"/>
                  <a:pt x="121" y="24"/>
                </a:cubicBezTo>
                <a:cubicBezTo>
                  <a:pt x="118" y="19"/>
                  <a:pt x="120" y="12"/>
                  <a:pt x="126" y="10"/>
                </a:cubicBezTo>
                <a:cubicBezTo>
                  <a:pt x="145" y="1"/>
                  <a:pt x="145" y="1"/>
                  <a:pt x="145" y="1"/>
                </a:cubicBezTo>
                <a:cubicBezTo>
                  <a:pt x="148" y="0"/>
                  <a:pt x="151" y="0"/>
                  <a:pt x="154" y="1"/>
                </a:cubicBezTo>
                <a:cubicBezTo>
                  <a:pt x="174" y="10"/>
                  <a:pt x="174" y="10"/>
                  <a:pt x="174" y="10"/>
                </a:cubicBezTo>
                <a:cubicBezTo>
                  <a:pt x="179" y="12"/>
                  <a:pt x="181" y="19"/>
                  <a:pt x="179" y="24"/>
                </a:cubicBezTo>
                <a:close/>
                <a:moveTo>
                  <a:pt x="64" y="61"/>
                </a:moveTo>
                <a:cubicBezTo>
                  <a:pt x="65" y="61"/>
                  <a:pt x="67" y="61"/>
                  <a:pt x="68" y="60"/>
                </a:cubicBezTo>
                <a:cubicBezTo>
                  <a:pt x="101" y="45"/>
                  <a:pt x="101" y="45"/>
                  <a:pt x="101" y="45"/>
                </a:cubicBezTo>
                <a:cubicBezTo>
                  <a:pt x="107" y="42"/>
                  <a:pt x="109" y="36"/>
                  <a:pt x="107" y="31"/>
                </a:cubicBezTo>
                <a:cubicBezTo>
                  <a:pt x="104" y="25"/>
                  <a:pt x="98" y="23"/>
                  <a:pt x="93" y="25"/>
                </a:cubicBezTo>
                <a:cubicBezTo>
                  <a:pt x="59" y="41"/>
                  <a:pt x="59" y="41"/>
                  <a:pt x="59" y="41"/>
                </a:cubicBezTo>
                <a:cubicBezTo>
                  <a:pt x="54" y="43"/>
                  <a:pt x="52" y="49"/>
                  <a:pt x="54" y="55"/>
                </a:cubicBezTo>
                <a:cubicBezTo>
                  <a:pt x="56" y="59"/>
                  <a:pt x="60" y="61"/>
                  <a:pt x="64" y="61"/>
                </a:cubicBezTo>
                <a:close/>
                <a:moveTo>
                  <a:pt x="40" y="61"/>
                </a:moveTo>
                <a:cubicBezTo>
                  <a:pt x="38" y="56"/>
                  <a:pt x="31" y="54"/>
                  <a:pt x="26" y="56"/>
                </a:cubicBezTo>
                <a:cubicBezTo>
                  <a:pt x="7" y="65"/>
                  <a:pt x="7" y="65"/>
                  <a:pt x="7" y="65"/>
                </a:cubicBezTo>
                <a:cubicBezTo>
                  <a:pt x="3" y="67"/>
                  <a:pt x="0" y="71"/>
                  <a:pt x="0" y="75"/>
                </a:cubicBezTo>
                <a:cubicBezTo>
                  <a:pt x="0" y="96"/>
                  <a:pt x="0" y="96"/>
                  <a:pt x="0" y="96"/>
                </a:cubicBezTo>
                <a:cubicBezTo>
                  <a:pt x="0" y="102"/>
                  <a:pt x="5" y="107"/>
                  <a:pt x="11" y="107"/>
                </a:cubicBezTo>
                <a:cubicBezTo>
                  <a:pt x="17" y="107"/>
                  <a:pt x="22" y="102"/>
                  <a:pt x="22" y="96"/>
                </a:cubicBezTo>
                <a:cubicBezTo>
                  <a:pt x="22" y="91"/>
                  <a:pt x="22" y="91"/>
                  <a:pt x="22" y="91"/>
                </a:cubicBezTo>
                <a:cubicBezTo>
                  <a:pt x="26" y="93"/>
                  <a:pt x="26" y="93"/>
                  <a:pt x="26" y="93"/>
                </a:cubicBezTo>
                <a:cubicBezTo>
                  <a:pt x="27" y="94"/>
                  <a:pt x="29" y="94"/>
                  <a:pt x="30" y="94"/>
                </a:cubicBezTo>
                <a:cubicBezTo>
                  <a:pt x="34" y="94"/>
                  <a:pt x="38" y="92"/>
                  <a:pt x="40" y="88"/>
                </a:cubicBezTo>
                <a:cubicBezTo>
                  <a:pt x="42" y="83"/>
                  <a:pt x="41" y="78"/>
                  <a:pt x="36" y="75"/>
                </a:cubicBezTo>
                <a:cubicBezTo>
                  <a:pt x="41" y="72"/>
                  <a:pt x="42" y="66"/>
                  <a:pt x="40" y="61"/>
                </a:cubicBezTo>
                <a:close/>
                <a:moveTo>
                  <a:pt x="59" y="109"/>
                </a:moveTo>
                <a:cubicBezTo>
                  <a:pt x="93" y="124"/>
                  <a:pt x="93" y="124"/>
                  <a:pt x="93" y="124"/>
                </a:cubicBezTo>
                <a:cubicBezTo>
                  <a:pt x="94" y="125"/>
                  <a:pt x="95" y="125"/>
                  <a:pt x="97" y="125"/>
                </a:cubicBezTo>
                <a:cubicBezTo>
                  <a:pt x="101" y="125"/>
                  <a:pt x="105" y="123"/>
                  <a:pt x="107" y="119"/>
                </a:cubicBezTo>
                <a:cubicBezTo>
                  <a:pt x="109" y="113"/>
                  <a:pt x="107" y="107"/>
                  <a:pt x="101" y="105"/>
                </a:cubicBezTo>
                <a:cubicBezTo>
                  <a:pt x="68" y="89"/>
                  <a:pt x="68" y="89"/>
                  <a:pt x="68" y="89"/>
                </a:cubicBezTo>
                <a:cubicBezTo>
                  <a:pt x="63" y="87"/>
                  <a:pt x="56" y="89"/>
                  <a:pt x="54" y="95"/>
                </a:cubicBezTo>
                <a:cubicBezTo>
                  <a:pt x="52" y="100"/>
                  <a:pt x="54" y="106"/>
                  <a:pt x="59" y="109"/>
                </a:cubicBezTo>
                <a:close/>
                <a:moveTo>
                  <a:pt x="165" y="120"/>
                </a:moveTo>
                <a:cubicBezTo>
                  <a:pt x="150" y="127"/>
                  <a:pt x="150" y="127"/>
                  <a:pt x="150" y="127"/>
                </a:cubicBezTo>
                <a:cubicBezTo>
                  <a:pt x="135" y="120"/>
                  <a:pt x="135" y="120"/>
                  <a:pt x="135" y="120"/>
                </a:cubicBezTo>
                <a:cubicBezTo>
                  <a:pt x="129" y="118"/>
                  <a:pt x="123" y="120"/>
                  <a:pt x="121" y="125"/>
                </a:cubicBezTo>
                <a:cubicBezTo>
                  <a:pt x="118" y="131"/>
                  <a:pt x="120" y="137"/>
                  <a:pt x="126" y="139"/>
                </a:cubicBezTo>
                <a:cubicBezTo>
                  <a:pt x="139" y="145"/>
                  <a:pt x="139" y="145"/>
                  <a:pt x="139" y="145"/>
                </a:cubicBezTo>
                <a:cubicBezTo>
                  <a:pt x="139" y="160"/>
                  <a:pt x="139" y="160"/>
                  <a:pt x="139" y="160"/>
                </a:cubicBezTo>
                <a:cubicBezTo>
                  <a:pt x="139" y="166"/>
                  <a:pt x="144" y="171"/>
                  <a:pt x="150" y="171"/>
                </a:cubicBezTo>
                <a:cubicBezTo>
                  <a:pt x="156" y="171"/>
                  <a:pt x="160" y="166"/>
                  <a:pt x="160" y="160"/>
                </a:cubicBezTo>
                <a:cubicBezTo>
                  <a:pt x="160" y="145"/>
                  <a:pt x="160" y="145"/>
                  <a:pt x="160" y="145"/>
                </a:cubicBezTo>
                <a:cubicBezTo>
                  <a:pt x="174" y="139"/>
                  <a:pt x="174" y="139"/>
                  <a:pt x="174" y="139"/>
                </a:cubicBezTo>
                <a:cubicBezTo>
                  <a:pt x="179" y="137"/>
                  <a:pt x="181" y="131"/>
                  <a:pt x="179" y="125"/>
                </a:cubicBezTo>
                <a:cubicBezTo>
                  <a:pt x="176" y="120"/>
                  <a:pt x="170" y="118"/>
                  <a:pt x="165" y="120"/>
                </a:cubicBezTo>
                <a:close/>
                <a:moveTo>
                  <a:pt x="231" y="89"/>
                </a:moveTo>
                <a:cubicBezTo>
                  <a:pt x="198" y="105"/>
                  <a:pt x="198" y="105"/>
                  <a:pt x="198" y="105"/>
                </a:cubicBezTo>
                <a:cubicBezTo>
                  <a:pt x="193" y="107"/>
                  <a:pt x="190" y="113"/>
                  <a:pt x="193" y="119"/>
                </a:cubicBezTo>
                <a:cubicBezTo>
                  <a:pt x="194" y="123"/>
                  <a:pt x="198" y="125"/>
                  <a:pt x="202" y="125"/>
                </a:cubicBezTo>
                <a:cubicBezTo>
                  <a:pt x="204" y="125"/>
                  <a:pt x="205" y="125"/>
                  <a:pt x="207" y="124"/>
                </a:cubicBezTo>
                <a:cubicBezTo>
                  <a:pt x="240" y="109"/>
                  <a:pt x="240" y="109"/>
                  <a:pt x="240" y="109"/>
                </a:cubicBezTo>
                <a:cubicBezTo>
                  <a:pt x="245" y="106"/>
                  <a:pt x="248" y="100"/>
                  <a:pt x="245" y="95"/>
                </a:cubicBezTo>
                <a:cubicBezTo>
                  <a:pt x="243" y="89"/>
                  <a:pt x="237" y="87"/>
                  <a:pt x="231" y="89"/>
                </a:cubicBezTo>
                <a:close/>
                <a:moveTo>
                  <a:pt x="293" y="65"/>
                </a:moveTo>
                <a:cubicBezTo>
                  <a:pt x="273" y="56"/>
                  <a:pt x="273" y="56"/>
                  <a:pt x="273" y="56"/>
                </a:cubicBezTo>
                <a:cubicBezTo>
                  <a:pt x="268" y="54"/>
                  <a:pt x="262" y="56"/>
                  <a:pt x="259" y="61"/>
                </a:cubicBezTo>
                <a:cubicBezTo>
                  <a:pt x="257" y="66"/>
                  <a:pt x="259" y="72"/>
                  <a:pt x="263" y="75"/>
                </a:cubicBezTo>
                <a:cubicBezTo>
                  <a:pt x="259" y="78"/>
                  <a:pt x="257" y="83"/>
                  <a:pt x="259" y="88"/>
                </a:cubicBezTo>
                <a:cubicBezTo>
                  <a:pt x="261" y="92"/>
                  <a:pt x="265" y="94"/>
                  <a:pt x="269" y="94"/>
                </a:cubicBezTo>
                <a:cubicBezTo>
                  <a:pt x="270" y="94"/>
                  <a:pt x="272" y="94"/>
                  <a:pt x="273" y="93"/>
                </a:cubicBezTo>
                <a:cubicBezTo>
                  <a:pt x="278" y="91"/>
                  <a:pt x="278" y="91"/>
                  <a:pt x="278" y="91"/>
                </a:cubicBezTo>
                <a:cubicBezTo>
                  <a:pt x="278" y="96"/>
                  <a:pt x="278" y="96"/>
                  <a:pt x="278" y="96"/>
                </a:cubicBezTo>
                <a:cubicBezTo>
                  <a:pt x="278" y="102"/>
                  <a:pt x="282" y="107"/>
                  <a:pt x="288" y="107"/>
                </a:cubicBezTo>
                <a:cubicBezTo>
                  <a:pt x="294" y="107"/>
                  <a:pt x="299" y="102"/>
                  <a:pt x="299" y="96"/>
                </a:cubicBezTo>
                <a:cubicBezTo>
                  <a:pt x="299" y="75"/>
                  <a:pt x="299" y="75"/>
                  <a:pt x="299" y="75"/>
                </a:cubicBezTo>
                <a:cubicBezTo>
                  <a:pt x="299" y="71"/>
                  <a:pt x="297" y="67"/>
                  <a:pt x="293" y="65"/>
                </a:cubicBezTo>
                <a:close/>
                <a:moveTo>
                  <a:pt x="240" y="41"/>
                </a:moveTo>
                <a:cubicBezTo>
                  <a:pt x="207" y="25"/>
                  <a:pt x="207" y="25"/>
                  <a:pt x="207" y="25"/>
                </a:cubicBezTo>
                <a:cubicBezTo>
                  <a:pt x="201" y="23"/>
                  <a:pt x="195" y="25"/>
                  <a:pt x="193" y="31"/>
                </a:cubicBezTo>
                <a:cubicBezTo>
                  <a:pt x="190" y="36"/>
                  <a:pt x="193" y="42"/>
                  <a:pt x="198" y="45"/>
                </a:cubicBezTo>
                <a:cubicBezTo>
                  <a:pt x="231" y="60"/>
                  <a:pt x="231" y="60"/>
                  <a:pt x="231" y="60"/>
                </a:cubicBezTo>
                <a:cubicBezTo>
                  <a:pt x="233" y="61"/>
                  <a:pt x="234" y="61"/>
                  <a:pt x="236" y="61"/>
                </a:cubicBezTo>
                <a:cubicBezTo>
                  <a:pt x="240" y="61"/>
                  <a:pt x="244" y="59"/>
                  <a:pt x="245" y="55"/>
                </a:cubicBezTo>
                <a:cubicBezTo>
                  <a:pt x="248" y="49"/>
                  <a:pt x="245" y="43"/>
                  <a:pt x="240" y="41"/>
                </a:cubicBezTo>
                <a:close/>
                <a:moveTo>
                  <a:pt x="11" y="171"/>
                </a:moveTo>
                <a:cubicBezTo>
                  <a:pt x="17" y="171"/>
                  <a:pt x="22" y="166"/>
                  <a:pt x="22" y="160"/>
                </a:cubicBezTo>
                <a:cubicBezTo>
                  <a:pt x="22" y="128"/>
                  <a:pt x="22" y="128"/>
                  <a:pt x="22" y="128"/>
                </a:cubicBezTo>
                <a:cubicBezTo>
                  <a:pt x="22" y="122"/>
                  <a:pt x="17" y="117"/>
                  <a:pt x="11" y="117"/>
                </a:cubicBezTo>
                <a:cubicBezTo>
                  <a:pt x="5" y="117"/>
                  <a:pt x="0" y="122"/>
                  <a:pt x="0" y="128"/>
                </a:cubicBezTo>
                <a:cubicBezTo>
                  <a:pt x="0" y="160"/>
                  <a:pt x="0" y="160"/>
                  <a:pt x="0" y="160"/>
                </a:cubicBezTo>
                <a:cubicBezTo>
                  <a:pt x="0" y="166"/>
                  <a:pt x="5" y="171"/>
                  <a:pt x="11" y="171"/>
                </a:cubicBezTo>
                <a:close/>
                <a:moveTo>
                  <a:pt x="35" y="214"/>
                </a:moveTo>
                <a:cubicBezTo>
                  <a:pt x="22" y="207"/>
                  <a:pt x="22" y="207"/>
                  <a:pt x="22" y="207"/>
                </a:cubicBezTo>
                <a:cubicBezTo>
                  <a:pt x="22" y="192"/>
                  <a:pt x="22" y="192"/>
                  <a:pt x="22" y="192"/>
                </a:cubicBezTo>
                <a:cubicBezTo>
                  <a:pt x="22" y="186"/>
                  <a:pt x="17" y="181"/>
                  <a:pt x="11" y="181"/>
                </a:cubicBezTo>
                <a:cubicBezTo>
                  <a:pt x="5" y="181"/>
                  <a:pt x="0" y="186"/>
                  <a:pt x="0" y="192"/>
                </a:cubicBezTo>
                <a:cubicBezTo>
                  <a:pt x="0" y="213"/>
                  <a:pt x="0" y="213"/>
                  <a:pt x="0" y="213"/>
                </a:cubicBezTo>
                <a:cubicBezTo>
                  <a:pt x="0" y="217"/>
                  <a:pt x="2" y="221"/>
                  <a:pt x="6" y="223"/>
                </a:cubicBezTo>
                <a:cubicBezTo>
                  <a:pt x="25" y="233"/>
                  <a:pt x="25" y="233"/>
                  <a:pt x="25" y="233"/>
                </a:cubicBezTo>
                <a:cubicBezTo>
                  <a:pt x="26" y="234"/>
                  <a:pt x="28" y="234"/>
                  <a:pt x="30" y="234"/>
                </a:cubicBezTo>
                <a:cubicBezTo>
                  <a:pt x="34" y="234"/>
                  <a:pt x="37" y="232"/>
                  <a:pt x="39" y="229"/>
                </a:cubicBezTo>
                <a:cubicBezTo>
                  <a:pt x="42" y="223"/>
                  <a:pt x="40" y="217"/>
                  <a:pt x="35" y="214"/>
                </a:cubicBezTo>
                <a:close/>
                <a:moveTo>
                  <a:pt x="102" y="250"/>
                </a:moveTo>
                <a:cubicBezTo>
                  <a:pt x="69" y="232"/>
                  <a:pt x="69" y="232"/>
                  <a:pt x="69" y="232"/>
                </a:cubicBezTo>
                <a:cubicBezTo>
                  <a:pt x="63" y="229"/>
                  <a:pt x="57" y="231"/>
                  <a:pt x="54" y="237"/>
                </a:cubicBezTo>
                <a:cubicBezTo>
                  <a:pt x="51" y="242"/>
                  <a:pt x="53" y="248"/>
                  <a:pt x="58" y="251"/>
                </a:cubicBezTo>
                <a:cubicBezTo>
                  <a:pt x="92" y="269"/>
                  <a:pt x="92" y="269"/>
                  <a:pt x="92" y="269"/>
                </a:cubicBezTo>
                <a:cubicBezTo>
                  <a:pt x="94" y="270"/>
                  <a:pt x="95" y="270"/>
                  <a:pt x="97" y="270"/>
                </a:cubicBezTo>
                <a:cubicBezTo>
                  <a:pt x="101" y="270"/>
                  <a:pt x="105" y="268"/>
                  <a:pt x="107" y="265"/>
                </a:cubicBezTo>
                <a:cubicBezTo>
                  <a:pt x="109" y="260"/>
                  <a:pt x="107" y="253"/>
                  <a:pt x="102" y="250"/>
                </a:cubicBezTo>
                <a:close/>
                <a:moveTo>
                  <a:pt x="150" y="245"/>
                </a:moveTo>
                <a:cubicBezTo>
                  <a:pt x="156" y="245"/>
                  <a:pt x="160" y="241"/>
                  <a:pt x="160" y="235"/>
                </a:cubicBezTo>
                <a:cubicBezTo>
                  <a:pt x="160" y="203"/>
                  <a:pt x="160" y="203"/>
                  <a:pt x="160" y="203"/>
                </a:cubicBezTo>
                <a:cubicBezTo>
                  <a:pt x="160" y="197"/>
                  <a:pt x="156" y="192"/>
                  <a:pt x="150" y="192"/>
                </a:cubicBezTo>
                <a:cubicBezTo>
                  <a:pt x="144" y="192"/>
                  <a:pt x="139" y="197"/>
                  <a:pt x="139" y="203"/>
                </a:cubicBezTo>
                <a:cubicBezTo>
                  <a:pt x="139" y="235"/>
                  <a:pt x="139" y="235"/>
                  <a:pt x="139" y="235"/>
                </a:cubicBezTo>
                <a:cubicBezTo>
                  <a:pt x="139" y="241"/>
                  <a:pt x="144" y="245"/>
                  <a:pt x="150" y="245"/>
                </a:cubicBezTo>
                <a:close/>
                <a:moveTo>
                  <a:pt x="165" y="269"/>
                </a:moveTo>
                <a:cubicBezTo>
                  <a:pt x="160" y="271"/>
                  <a:pt x="160" y="271"/>
                  <a:pt x="160" y="271"/>
                </a:cubicBezTo>
                <a:cubicBezTo>
                  <a:pt x="160" y="267"/>
                  <a:pt x="160" y="267"/>
                  <a:pt x="160" y="267"/>
                </a:cubicBezTo>
                <a:cubicBezTo>
                  <a:pt x="160" y="261"/>
                  <a:pt x="156" y="256"/>
                  <a:pt x="150" y="256"/>
                </a:cubicBezTo>
                <a:cubicBezTo>
                  <a:pt x="144" y="256"/>
                  <a:pt x="139" y="261"/>
                  <a:pt x="139" y="267"/>
                </a:cubicBezTo>
                <a:cubicBezTo>
                  <a:pt x="139" y="270"/>
                  <a:pt x="139" y="270"/>
                  <a:pt x="139" y="270"/>
                </a:cubicBezTo>
                <a:cubicBezTo>
                  <a:pt x="136" y="268"/>
                  <a:pt x="136" y="268"/>
                  <a:pt x="136" y="268"/>
                </a:cubicBezTo>
                <a:cubicBezTo>
                  <a:pt x="131" y="266"/>
                  <a:pt x="124" y="268"/>
                  <a:pt x="121" y="273"/>
                </a:cubicBezTo>
                <a:cubicBezTo>
                  <a:pt x="119" y="278"/>
                  <a:pt x="121" y="284"/>
                  <a:pt x="126" y="287"/>
                </a:cubicBezTo>
                <a:cubicBezTo>
                  <a:pt x="145" y="297"/>
                  <a:pt x="145" y="297"/>
                  <a:pt x="145" y="297"/>
                </a:cubicBezTo>
                <a:cubicBezTo>
                  <a:pt x="146" y="298"/>
                  <a:pt x="148" y="299"/>
                  <a:pt x="150" y="299"/>
                </a:cubicBezTo>
                <a:cubicBezTo>
                  <a:pt x="151" y="299"/>
                  <a:pt x="153" y="298"/>
                  <a:pt x="154" y="298"/>
                </a:cubicBezTo>
                <a:cubicBezTo>
                  <a:pt x="154" y="298"/>
                  <a:pt x="154" y="298"/>
                  <a:pt x="154" y="298"/>
                </a:cubicBezTo>
                <a:cubicBezTo>
                  <a:pt x="174" y="289"/>
                  <a:pt x="174" y="289"/>
                  <a:pt x="174" y="289"/>
                </a:cubicBezTo>
                <a:cubicBezTo>
                  <a:pt x="179" y="286"/>
                  <a:pt x="181" y="280"/>
                  <a:pt x="179" y="275"/>
                </a:cubicBezTo>
                <a:cubicBezTo>
                  <a:pt x="176" y="269"/>
                  <a:pt x="170" y="267"/>
                  <a:pt x="165" y="269"/>
                </a:cubicBezTo>
                <a:close/>
                <a:moveTo>
                  <a:pt x="231" y="239"/>
                </a:moveTo>
                <a:cubicBezTo>
                  <a:pt x="198" y="254"/>
                  <a:pt x="198" y="254"/>
                  <a:pt x="198" y="254"/>
                </a:cubicBezTo>
                <a:cubicBezTo>
                  <a:pt x="193" y="256"/>
                  <a:pt x="190" y="263"/>
                  <a:pt x="193" y="268"/>
                </a:cubicBezTo>
                <a:cubicBezTo>
                  <a:pt x="194" y="272"/>
                  <a:pt x="198" y="274"/>
                  <a:pt x="202" y="274"/>
                </a:cubicBezTo>
                <a:cubicBezTo>
                  <a:pt x="204" y="274"/>
                  <a:pt x="205" y="274"/>
                  <a:pt x="207" y="273"/>
                </a:cubicBezTo>
                <a:cubicBezTo>
                  <a:pt x="240" y="258"/>
                  <a:pt x="240" y="258"/>
                  <a:pt x="240" y="258"/>
                </a:cubicBezTo>
                <a:cubicBezTo>
                  <a:pt x="245" y="256"/>
                  <a:pt x="248" y="249"/>
                  <a:pt x="245" y="244"/>
                </a:cubicBezTo>
                <a:cubicBezTo>
                  <a:pt x="243" y="238"/>
                  <a:pt x="237" y="236"/>
                  <a:pt x="231" y="239"/>
                </a:cubicBezTo>
                <a:close/>
                <a:moveTo>
                  <a:pt x="288" y="192"/>
                </a:moveTo>
                <a:cubicBezTo>
                  <a:pt x="282" y="192"/>
                  <a:pt x="278" y="197"/>
                  <a:pt x="278" y="203"/>
                </a:cubicBezTo>
                <a:cubicBezTo>
                  <a:pt x="278" y="217"/>
                  <a:pt x="278" y="217"/>
                  <a:pt x="278" y="217"/>
                </a:cubicBezTo>
                <a:cubicBezTo>
                  <a:pt x="264" y="223"/>
                  <a:pt x="264" y="223"/>
                  <a:pt x="264" y="223"/>
                </a:cubicBezTo>
                <a:cubicBezTo>
                  <a:pt x="259" y="226"/>
                  <a:pt x="257" y="232"/>
                  <a:pt x="259" y="237"/>
                </a:cubicBezTo>
                <a:cubicBezTo>
                  <a:pt x="261" y="241"/>
                  <a:pt x="265" y="244"/>
                  <a:pt x="269" y="244"/>
                </a:cubicBezTo>
                <a:cubicBezTo>
                  <a:pt x="270" y="244"/>
                  <a:pt x="272" y="243"/>
                  <a:pt x="273" y="243"/>
                </a:cubicBezTo>
                <a:cubicBezTo>
                  <a:pt x="293" y="234"/>
                  <a:pt x="293" y="234"/>
                  <a:pt x="293" y="234"/>
                </a:cubicBezTo>
                <a:cubicBezTo>
                  <a:pt x="297" y="232"/>
                  <a:pt x="299" y="228"/>
                  <a:pt x="299" y="224"/>
                </a:cubicBezTo>
                <a:cubicBezTo>
                  <a:pt x="299" y="203"/>
                  <a:pt x="299" y="203"/>
                  <a:pt x="299" y="203"/>
                </a:cubicBezTo>
                <a:cubicBezTo>
                  <a:pt x="299" y="197"/>
                  <a:pt x="294" y="192"/>
                  <a:pt x="288" y="192"/>
                </a:cubicBezTo>
                <a:close/>
                <a:moveTo>
                  <a:pt x="288" y="128"/>
                </a:moveTo>
                <a:cubicBezTo>
                  <a:pt x="282" y="128"/>
                  <a:pt x="278" y="133"/>
                  <a:pt x="278" y="139"/>
                </a:cubicBezTo>
                <a:cubicBezTo>
                  <a:pt x="278" y="171"/>
                  <a:pt x="278" y="171"/>
                  <a:pt x="278" y="171"/>
                </a:cubicBezTo>
                <a:cubicBezTo>
                  <a:pt x="278" y="177"/>
                  <a:pt x="282" y="181"/>
                  <a:pt x="288" y="181"/>
                </a:cubicBezTo>
                <a:cubicBezTo>
                  <a:pt x="294" y="181"/>
                  <a:pt x="299" y="177"/>
                  <a:pt x="299" y="171"/>
                </a:cubicBezTo>
                <a:cubicBezTo>
                  <a:pt x="299" y="139"/>
                  <a:pt x="299" y="139"/>
                  <a:pt x="299" y="139"/>
                </a:cubicBezTo>
                <a:cubicBezTo>
                  <a:pt x="299" y="133"/>
                  <a:pt x="294" y="128"/>
                  <a:pt x="288" y="128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="" xmlns:p14="http://schemas.microsoft.com/office/powerpoint/2010/main" xmlns:mc="http://schemas.openxmlformats.org/markup-compatibility/2006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446" tIns="60723" rIns="121446" bIns="60723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1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4" name="object 56">
            <a:extLst>
              <a:ext uri="{FF2B5EF4-FFF2-40B4-BE49-F238E27FC236}">
                <a16:creationId xmlns:a16="http://schemas.microsoft.com/office/drawing/2014/main" id="{4CB23EA2-8F84-4E0A-8A7C-158DD3EFC357}"/>
              </a:ext>
            </a:extLst>
          </p:cNvPr>
          <p:cNvSpPr txBox="1"/>
          <p:nvPr/>
        </p:nvSpPr>
        <p:spPr>
          <a:xfrm>
            <a:off x="6115269" y="1142328"/>
            <a:ext cx="1470290" cy="57900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-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Mottar vare/tjeneste og melder ti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-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Fagrekvirent for registrering av varemottak</a:t>
            </a:r>
            <a:endParaRPr kumimoji="0" lang="en-US" sz="900" b="0" i="0" u="none" strike="noStrike" kern="1200" cap="none" spc="-5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Verdana"/>
            </a:endParaRPr>
          </a:p>
        </p:txBody>
      </p:sp>
      <p:sp>
        <p:nvSpPr>
          <p:cNvPr id="45" name="object 65">
            <a:extLst>
              <a:ext uri="{FF2B5EF4-FFF2-40B4-BE49-F238E27FC236}">
                <a16:creationId xmlns:a16="http://schemas.microsoft.com/office/drawing/2014/main" id="{D501F192-7993-4FC2-8B08-58066ECBFC91}"/>
              </a:ext>
            </a:extLst>
          </p:cNvPr>
          <p:cNvSpPr/>
          <p:nvPr/>
        </p:nvSpPr>
        <p:spPr>
          <a:xfrm rot="20354384" flipV="1">
            <a:off x="6882440" y="2709912"/>
            <a:ext cx="592792" cy="186521"/>
          </a:xfrm>
          <a:custGeom>
            <a:avLst/>
            <a:gdLst/>
            <a:ahLst/>
            <a:cxnLst/>
            <a:rect l="l" t="t" r="r" b="b"/>
            <a:pathLst>
              <a:path w="1685289" h="352425">
                <a:moveTo>
                  <a:pt x="1621144" y="306764"/>
                </a:moveTo>
                <a:lnTo>
                  <a:pt x="1602486" y="327913"/>
                </a:lnTo>
                <a:lnTo>
                  <a:pt x="1684782" y="349758"/>
                </a:lnTo>
                <a:lnTo>
                  <a:pt x="1670790" y="315087"/>
                </a:lnTo>
                <a:lnTo>
                  <a:pt x="1631188" y="315087"/>
                </a:lnTo>
                <a:lnTo>
                  <a:pt x="1621144" y="306764"/>
                </a:lnTo>
                <a:close/>
              </a:path>
              <a:path w="1685289" h="352425">
                <a:moveTo>
                  <a:pt x="1633736" y="292491"/>
                </a:moveTo>
                <a:lnTo>
                  <a:pt x="1621144" y="306764"/>
                </a:lnTo>
                <a:lnTo>
                  <a:pt x="1631188" y="315087"/>
                </a:lnTo>
                <a:lnTo>
                  <a:pt x="1643380" y="300482"/>
                </a:lnTo>
                <a:lnTo>
                  <a:pt x="1633736" y="292491"/>
                </a:lnTo>
                <a:close/>
              </a:path>
              <a:path w="1685289" h="352425">
                <a:moveTo>
                  <a:pt x="1652905" y="270763"/>
                </a:moveTo>
                <a:lnTo>
                  <a:pt x="1633736" y="292491"/>
                </a:lnTo>
                <a:lnTo>
                  <a:pt x="1643380" y="300482"/>
                </a:lnTo>
                <a:lnTo>
                  <a:pt x="1631188" y="315087"/>
                </a:lnTo>
                <a:lnTo>
                  <a:pt x="1670790" y="315087"/>
                </a:lnTo>
                <a:lnTo>
                  <a:pt x="1652905" y="270763"/>
                </a:lnTo>
                <a:close/>
              </a:path>
              <a:path w="1685289" h="352425">
                <a:moveTo>
                  <a:pt x="1583689" y="252222"/>
                </a:moveTo>
                <a:lnTo>
                  <a:pt x="1572387" y="267588"/>
                </a:lnTo>
                <a:lnTo>
                  <a:pt x="1585976" y="277622"/>
                </a:lnTo>
                <a:lnTo>
                  <a:pt x="1621144" y="306764"/>
                </a:lnTo>
                <a:lnTo>
                  <a:pt x="1633736" y="292491"/>
                </a:lnTo>
                <a:lnTo>
                  <a:pt x="1598168" y="263017"/>
                </a:lnTo>
                <a:lnTo>
                  <a:pt x="1583689" y="252222"/>
                </a:lnTo>
                <a:close/>
              </a:path>
              <a:path w="1685289" h="352425">
                <a:moveTo>
                  <a:pt x="1472311" y="177292"/>
                </a:moveTo>
                <a:lnTo>
                  <a:pt x="1462532" y="193675"/>
                </a:lnTo>
                <a:lnTo>
                  <a:pt x="1488567" y="209296"/>
                </a:lnTo>
                <a:lnTo>
                  <a:pt x="1526286" y="234442"/>
                </a:lnTo>
                <a:lnTo>
                  <a:pt x="1536954" y="218694"/>
                </a:lnTo>
                <a:lnTo>
                  <a:pt x="1499108" y="193421"/>
                </a:lnTo>
                <a:lnTo>
                  <a:pt x="1472311" y="177292"/>
                </a:lnTo>
                <a:close/>
              </a:path>
              <a:path w="1685289" h="352425">
                <a:moveTo>
                  <a:pt x="1353693" y="114553"/>
                </a:moveTo>
                <a:lnTo>
                  <a:pt x="1345564" y="131825"/>
                </a:lnTo>
                <a:lnTo>
                  <a:pt x="1386586" y="151384"/>
                </a:lnTo>
                <a:lnTo>
                  <a:pt x="1413256" y="165608"/>
                </a:lnTo>
                <a:lnTo>
                  <a:pt x="1422273" y="148844"/>
                </a:lnTo>
                <a:lnTo>
                  <a:pt x="1395602" y="134493"/>
                </a:lnTo>
                <a:lnTo>
                  <a:pt x="1353693" y="114553"/>
                </a:lnTo>
                <a:close/>
              </a:path>
              <a:path w="1685289" h="352425">
                <a:moveTo>
                  <a:pt x="1228725" y="64770"/>
                </a:moveTo>
                <a:lnTo>
                  <a:pt x="1223010" y="82931"/>
                </a:lnTo>
                <a:lnTo>
                  <a:pt x="1226820" y="84200"/>
                </a:lnTo>
                <a:lnTo>
                  <a:pt x="1280922" y="103886"/>
                </a:lnTo>
                <a:lnTo>
                  <a:pt x="1293495" y="109220"/>
                </a:lnTo>
                <a:lnTo>
                  <a:pt x="1300861" y="91694"/>
                </a:lnTo>
                <a:lnTo>
                  <a:pt x="1288288" y="86360"/>
                </a:lnTo>
                <a:lnTo>
                  <a:pt x="1233424" y="66294"/>
                </a:lnTo>
                <a:lnTo>
                  <a:pt x="1228725" y="64770"/>
                </a:lnTo>
                <a:close/>
              </a:path>
              <a:path w="1685289" h="352425">
                <a:moveTo>
                  <a:pt x="1099312" y="29210"/>
                </a:moveTo>
                <a:lnTo>
                  <a:pt x="1095375" y="47751"/>
                </a:lnTo>
                <a:lnTo>
                  <a:pt x="1116965" y="52450"/>
                </a:lnTo>
                <a:lnTo>
                  <a:pt x="1168781" y="66039"/>
                </a:lnTo>
                <a:lnTo>
                  <a:pt x="1173734" y="47625"/>
                </a:lnTo>
                <a:lnTo>
                  <a:pt x="1121918" y="34036"/>
                </a:lnTo>
                <a:lnTo>
                  <a:pt x="1099312" y="29210"/>
                </a:lnTo>
                <a:close/>
              </a:path>
              <a:path w="1685289" h="352425">
                <a:moveTo>
                  <a:pt x="966978" y="7365"/>
                </a:moveTo>
                <a:lnTo>
                  <a:pt x="964692" y="26288"/>
                </a:lnTo>
                <a:lnTo>
                  <a:pt x="1005459" y="31114"/>
                </a:lnTo>
                <a:lnTo>
                  <a:pt x="1039749" y="36957"/>
                </a:lnTo>
                <a:lnTo>
                  <a:pt x="1042797" y="18161"/>
                </a:lnTo>
                <a:lnTo>
                  <a:pt x="1008634" y="12446"/>
                </a:lnTo>
                <a:lnTo>
                  <a:pt x="966978" y="7365"/>
                </a:lnTo>
                <a:close/>
              </a:path>
              <a:path w="1685289" h="352425">
                <a:moveTo>
                  <a:pt x="837057" y="0"/>
                </a:moveTo>
                <a:lnTo>
                  <a:pt x="832612" y="0"/>
                </a:lnTo>
                <a:lnTo>
                  <a:pt x="832993" y="19050"/>
                </a:lnTo>
                <a:lnTo>
                  <a:pt x="836549" y="19050"/>
                </a:lnTo>
                <a:lnTo>
                  <a:pt x="892937" y="20447"/>
                </a:lnTo>
                <a:lnTo>
                  <a:pt x="908177" y="21462"/>
                </a:lnTo>
                <a:lnTo>
                  <a:pt x="909574" y="2539"/>
                </a:lnTo>
                <a:lnTo>
                  <a:pt x="894334" y="1397"/>
                </a:lnTo>
                <a:lnTo>
                  <a:pt x="837057" y="0"/>
                </a:lnTo>
                <a:close/>
              </a:path>
              <a:path w="1685289" h="352425">
                <a:moveTo>
                  <a:pt x="774954" y="1397"/>
                </a:moveTo>
                <a:lnTo>
                  <a:pt x="722884" y="4952"/>
                </a:lnTo>
                <a:lnTo>
                  <a:pt x="698627" y="7747"/>
                </a:lnTo>
                <a:lnTo>
                  <a:pt x="700786" y="26670"/>
                </a:lnTo>
                <a:lnTo>
                  <a:pt x="724281" y="24002"/>
                </a:lnTo>
                <a:lnTo>
                  <a:pt x="776224" y="20447"/>
                </a:lnTo>
                <a:lnTo>
                  <a:pt x="774954" y="1397"/>
                </a:lnTo>
                <a:close/>
              </a:path>
              <a:path w="1685289" h="352425">
                <a:moveTo>
                  <a:pt x="641604" y="15494"/>
                </a:moveTo>
                <a:lnTo>
                  <a:pt x="609854" y="20574"/>
                </a:lnTo>
                <a:lnTo>
                  <a:pt x="566293" y="29845"/>
                </a:lnTo>
                <a:lnTo>
                  <a:pt x="570230" y="48513"/>
                </a:lnTo>
                <a:lnTo>
                  <a:pt x="612902" y="39370"/>
                </a:lnTo>
                <a:lnTo>
                  <a:pt x="644652" y="34289"/>
                </a:lnTo>
                <a:lnTo>
                  <a:pt x="641604" y="15494"/>
                </a:lnTo>
                <a:close/>
              </a:path>
              <a:path w="1685289" h="352425">
                <a:moveTo>
                  <a:pt x="510413" y="43814"/>
                </a:moveTo>
                <a:lnTo>
                  <a:pt x="498602" y="46989"/>
                </a:lnTo>
                <a:lnTo>
                  <a:pt x="443992" y="64135"/>
                </a:lnTo>
                <a:lnTo>
                  <a:pt x="436753" y="66801"/>
                </a:lnTo>
                <a:lnTo>
                  <a:pt x="443357" y="84709"/>
                </a:lnTo>
                <a:lnTo>
                  <a:pt x="449707" y="82296"/>
                </a:lnTo>
                <a:lnTo>
                  <a:pt x="503555" y="65405"/>
                </a:lnTo>
                <a:lnTo>
                  <a:pt x="515239" y="62357"/>
                </a:lnTo>
                <a:lnTo>
                  <a:pt x="510413" y="43814"/>
                </a:lnTo>
                <a:close/>
              </a:path>
              <a:path w="1685289" h="352425">
                <a:moveTo>
                  <a:pt x="382905" y="86995"/>
                </a:moveTo>
                <a:lnTo>
                  <a:pt x="337185" y="106425"/>
                </a:lnTo>
                <a:lnTo>
                  <a:pt x="312928" y="118237"/>
                </a:lnTo>
                <a:lnTo>
                  <a:pt x="321183" y="135382"/>
                </a:lnTo>
                <a:lnTo>
                  <a:pt x="344678" y="123951"/>
                </a:lnTo>
                <a:lnTo>
                  <a:pt x="390398" y="104521"/>
                </a:lnTo>
                <a:lnTo>
                  <a:pt x="382905" y="86995"/>
                </a:lnTo>
                <a:close/>
              </a:path>
              <a:path w="1685289" h="352425">
                <a:moveTo>
                  <a:pt x="261620" y="144525"/>
                </a:moveTo>
                <a:lnTo>
                  <a:pt x="234442" y="159385"/>
                </a:lnTo>
                <a:lnTo>
                  <a:pt x="195580" y="183387"/>
                </a:lnTo>
                <a:lnTo>
                  <a:pt x="205486" y="199517"/>
                </a:lnTo>
                <a:lnTo>
                  <a:pt x="243586" y="176149"/>
                </a:lnTo>
                <a:lnTo>
                  <a:pt x="270764" y="161289"/>
                </a:lnTo>
                <a:lnTo>
                  <a:pt x="261620" y="144525"/>
                </a:lnTo>
                <a:close/>
              </a:path>
              <a:path w="1685289" h="352425">
                <a:moveTo>
                  <a:pt x="147574" y="215392"/>
                </a:moveTo>
                <a:lnTo>
                  <a:pt x="136398" y="223138"/>
                </a:lnTo>
                <a:lnTo>
                  <a:pt x="89408" y="258952"/>
                </a:lnTo>
                <a:lnTo>
                  <a:pt x="85979" y="261747"/>
                </a:lnTo>
                <a:lnTo>
                  <a:pt x="98298" y="276225"/>
                </a:lnTo>
                <a:lnTo>
                  <a:pt x="100837" y="274065"/>
                </a:lnTo>
                <a:lnTo>
                  <a:pt x="147193" y="238760"/>
                </a:lnTo>
                <a:lnTo>
                  <a:pt x="158369" y="231139"/>
                </a:lnTo>
                <a:lnTo>
                  <a:pt x="147574" y="215392"/>
                </a:lnTo>
                <a:close/>
              </a:path>
              <a:path w="1685289" h="352425">
                <a:moveTo>
                  <a:pt x="42037" y="299085"/>
                </a:moveTo>
                <a:lnTo>
                  <a:pt x="0" y="338582"/>
                </a:lnTo>
                <a:lnTo>
                  <a:pt x="13081" y="352425"/>
                </a:lnTo>
                <a:lnTo>
                  <a:pt x="55118" y="313055"/>
                </a:lnTo>
                <a:lnTo>
                  <a:pt x="42037" y="299085"/>
                </a:lnTo>
                <a:close/>
              </a:path>
            </a:pathLst>
          </a:custGeom>
          <a:solidFill>
            <a:srgbClr val="A6A6A6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46" name="object 40">
            <a:extLst>
              <a:ext uri="{FF2B5EF4-FFF2-40B4-BE49-F238E27FC236}">
                <a16:creationId xmlns:a16="http://schemas.microsoft.com/office/drawing/2014/main" id="{590ACCD0-44AA-448B-9CAA-5A5F105F43A0}"/>
              </a:ext>
            </a:extLst>
          </p:cNvPr>
          <p:cNvSpPr/>
          <p:nvPr/>
        </p:nvSpPr>
        <p:spPr>
          <a:xfrm>
            <a:off x="576287" y="2295005"/>
            <a:ext cx="460533" cy="425524"/>
          </a:xfrm>
          <a:prstGeom prst="rect">
            <a:avLst/>
          </a:prstGeom>
          <a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ln>
            <a:noFill/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47" name="Freeform 134">
            <a:extLst>
              <a:ext uri="{FF2B5EF4-FFF2-40B4-BE49-F238E27FC236}">
                <a16:creationId xmlns:a16="http://schemas.microsoft.com/office/drawing/2014/main" id="{9429B3B8-6AC8-415B-B42D-7045E0216DA6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27443" y="2371377"/>
            <a:ext cx="157003" cy="173892"/>
          </a:xfrm>
          <a:custGeom>
            <a:avLst/>
            <a:gdLst>
              <a:gd name="T0" fmla="*/ 256 w 512"/>
              <a:gd name="T1" fmla="*/ 128 h 512"/>
              <a:gd name="T2" fmla="*/ 234 w 512"/>
              <a:gd name="T3" fmla="*/ 128 h 512"/>
              <a:gd name="T4" fmla="*/ 234 w 512"/>
              <a:gd name="T5" fmla="*/ 117 h 512"/>
              <a:gd name="T6" fmla="*/ 256 w 512"/>
              <a:gd name="T7" fmla="*/ 117 h 512"/>
              <a:gd name="T8" fmla="*/ 256 w 512"/>
              <a:gd name="T9" fmla="*/ 128 h 512"/>
              <a:gd name="T10" fmla="*/ 192 w 512"/>
              <a:gd name="T11" fmla="*/ 164 h 512"/>
              <a:gd name="T12" fmla="*/ 149 w 512"/>
              <a:gd name="T13" fmla="*/ 180 h 512"/>
              <a:gd name="T14" fmla="*/ 149 w 512"/>
              <a:gd name="T15" fmla="*/ 192 h 512"/>
              <a:gd name="T16" fmla="*/ 298 w 512"/>
              <a:gd name="T17" fmla="*/ 192 h 512"/>
              <a:gd name="T18" fmla="*/ 298 w 512"/>
              <a:gd name="T19" fmla="*/ 149 h 512"/>
              <a:gd name="T20" fmla="*/ 201 w 512"/>
              <a:gd name="T21" fmla="*/ 149 h 512"/>
              <a:gd name="T22" fmla="*/ 192 w 512"/>
              <a:gd name="T23" fmla="*/ 164 h 512"/>
              <a:gd name="T24" fmla="*/ 234 w 512"/>
              <a:gd name="T25" fmla="*/ 394 h 512"/>
              <a:gd name="T26" fmla="*/ 256 w 512"/>
              <a:gd name="T27" fmla="*/ 394 h 512"/>
              <a:gd name="T28" fmla="*/ 256 w 512"/>
              <a:gd name="T29" fmla="*/ 213 h 512"/>
              <a:gd name="T30" fmla="*/ 234 w 512"/>
              <a:gd name="T31" fmla="*/ 213 h 512"/>
              <a:gd name="T32" fmla="*/ 234 w 512"/>
              <a:gd name="T33" fmla="*/ 394 h 512"/>
              <a:gd name="T34" fmla="*/ 512 w 512"/>
              <a:gd name="T35" fmla="*/ 256 h 512"/>
              <a:gd name="T36" fmla="*/ 256 w 512"/>
              <a:gd name="T37" fmla="*/ 512 h 512"/>
              <a:gd name="T38" fmla="*/ 0 w 512"/>
              <a:gd name="T39" fmla="*/ 256 h 512"/>
              <a:gd name="T40" fmla="*/ 256 w 512"/>
              <a:gd name="T41" fmla="*/ 0 h 512"/>
              <a:gd name="T42" fmla="*/ 512 w 512"/>
              <a:gd name="T43" fmla="*/ 256 h 512"/>
              <a:gd name="T44" fmla="*/ 373 w 512"/>
              <a:gd name="T45" fmla="*/ 117 h 512"/>
              <a:gd name="T46" fmla="*/ 362 w 512"/>
              <a:gd name="T47" fmla="*/ 106 h 512"/>
              <a:gd name="T48" fmla="*/ 320 w 512"/>
              <a:gd name="T49" fmla="*/ 106 h 512"/>
              <a:gd name="T50" fmla="*/ 309 w 512"/>
              <a:gd name="T51" fmla="*/ 117 h 512"/>
              <a:gd name="T52" fmla="*/ 309 w 512"/>
              <a:gd name="T53" fmla="*/ 128 h 512"/>
              <a:gd name="T54" fmla="*/ 277 w 512"/>
              <a:gd name="T55" fmla="*/ 128 h 512"/>
              <a:gd name="T56" fmla="*/ 277 w 512"/>
              <a:gd name="T57" fmla="*/ 106 h 512"/>
              <a:gd name="T58" fmla="*/ 266 w 512"/>
              <a:gd name="T59" fmla="*/ 96 h 512"/>
              <a:gd name="T60" fmla="*/ 224 w 512"/>
              <a:gd name="T61" fmla="*/ 96 h 512"/>
              <a:gd name="T62" fmla="*/ 213 w 512"/>
              <a:gd name="T63" fmla="*/ 106 h 512"/>
              <a:gd name="T64" fmla="*/ 213 w 512"/>
              <a:gd name="T65" fmla="*/ 128 h 512"/>
              <a:gd name="T66" fmla="*/ 192 w 512"/>
              <a:gd name="T67" fmla="*/ 128 h 512"/>
              <a:gd name="T68" fmla="*/ 181 w 512"/>
              <a:gd name="T69" fmla="*/ 138 h 512"/>
              <a:gd name="T70" fmla="*/ 177 w 512"/>
              <a:gd name="T71" fmla="*/ 149 h 512"/>
              <a:gd name="T72" fmla="*/ 138 w 512"/>
              <a:gd name="T73" fmla="*/ 160 h 512"/>
              <a:gd name="T74" fmla="*/ 131 w 512"/>
              <a:gd name="T75" fmla="*/ 163 h 512"/>
              <a:gd name="T76" fmla="*/ 128 w 512"/>
              <a:gd name="T77" fmla="*/ 170 h 512"/>
              <a:gd name="T78" fmla="*/ 128 w 512"/>
              <a:gd name="T79" fmla="*/ 202 h 512"/>
              <a:gd name="T80" fmla="*/ 138 w 512"/>
              <a:gd name="T81" fmla="*/ 213 h 512"/>
              <a:gd name="T82" fmla="*/ 213 w 512"/>
              <a:gd name="T83" fmla="*/ 213 h 512"/>
              <a:gd name="T84" fmla="*/ 213 w 512"/>
              <a:gd name="T85" fmla="*/ 405 h 512"/>
              <a:gd name="T86" fmla="*/ 224 w 512"/>
              <a:gd name="T87" fmla="*/ 416 h 512"/>
              <a:gd name="T88" fmla="*/ 266 w 512"/>
              <a:gd name="T89" fmla="*/ 416 h 512"/>
              <a:gd name="T90" fmla="*/ 277 w 512"/>
              <a:gd name="T91" fmla="*/ 405 h 512"/>
              <a:gd name="T92" fmla="*/ 277 w 512"/>
              <a:gd name="T93" fmla="*/ 213 h 512"/>
              <a:gd name="T94" fmla="*/ 309 w 512"/>
              <a:gd name="T95" fmla="*/ 213 h 512"/>
              <a:gd name="T96" fmla="*/ 309 w 512"/>
              <a:gd name="T97" fmla="*/ 224 h 512"/>
              <a:gd name="T98" fmla="*/ 320 w 512"/>
              <a:gd name="T99" fmla="*/ 234 h 512"/>
              <a:gd name="T100" fmla="*/ 362 w 512"/>
              <a:gd name="T101" fmla="*/ 234 h 512"/>
              <a:gd name="T102" fmla="*/ 373 w 512"/>
              <a:gd name="T103" fmla="*/ 224 h 512"/>
              <a:gd name="T104" fmla="*/ 373 w 512"/>
              <a:gd name="T105" fmla="*/ 117 h 512"/>
              <a:gd name="T106" fmla="*/ 330 w 512"/>
              <a:gd name="T107" fmla="*/ 213 h 512"/>
              <a:gd name="T108" fmla="*/ 352 w 512"/>
              <a:gd name="T109" fmla="*/ 213 h 512"/>
              <a:gd name="T110" fmla="*/ 352 w 512"/>
              <a:gd name="T111" fmla="*/ 128 h 512"/>
              <a:gd name="T112" fmla="*/ 330 w 512"/>
              <a:gd name="T113" fmla="*/ 128 h 512"/>
              <a:gd name="T114" fmla="*/ 330 w 512"/>
              <a:gd name="T115" fmla="*/ 213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512" h="512">
                <a:moveTo>
                  <a:pt x="256" y="128"/>
                </a:moveTo>
                <a:cubicBezTo>
                  <a:pt x="234" y="128"/>
                  <a:pt x="234" y="128"/>
                  <a:pt x="234" y="128"/>
                </a:cubicBezTo>
                <a:cubicBezTo>
                  <a:pt x="234" y="117"/>
                  <a:pt x="234" y="117"/>
                  <a:pt x="234" y="117"/>
                </a:cubicBezTo>
                <a:cubicBezTo>
                  <a:pt x="256" y="117"/>
                  <a:pt x="256" y="117"/>
                  <a:pt x="256" y="117"/>
                </a:cubicBezTo>
                <a:lnTo>
                  <a:pt x="256" y="128"/>
                </a:lnTo>
                <a:close/>
                <a:moveTo>
                  <a:pt x="192" y="164"/>
                </a:moveTo>
                <a:cubicBezTo>
                  <a:pt x="180" y="176"/>
                  <a:pt x="161" y="179"/>
                  <a:pt x="149" y="180"/>
                </a:cubicBezTo>
                <a:cubicBezTo>
                  <a:pt x="149" y="192"/>
                  <a:pt x="149" y="192"/>
                  <a:pt x="149" y="192"/>
                </a:cubicBezTo>
                <a:cubicBezTo>
                  <a:pt x="298" y="192"/>
                  <a:pt x="298" y="192"/>
                  <a:pt x="298" y="192"/>
                </a:cubicBezTo>
                <a:cubicBezTo>
                  <a:pt x="298" y="149"/>
                  <a:pt x="298" y="149"/>
                  <a:pt x="298" y="149"/>
                </a:cubicBezTo>
                <a:cubicBezTo>
                  <a:pt x="201" y="149"/>
                  <a:pt x="201" y="149"/>
                  <a:pt x="201" y="149"/>
                </a:cubicBezTo>
                <a:cubicBezTo>
                  <a:pt x="199" y="155"/>
                  <a:pt x="196" y="160"/>
                  <a:pt x="192" y="164"/>
                </a:cubicBezTo>
                <a:close/>
                <a:moveTo>
                  <a:pt x="234" y="394"/>
                </a:moveTo>
                <a:cubicBezTo>
                  <a:pt x="256" y="394"/>
                  <a:pt x="256" y="394"/>
                  <a:pt x="256" y="394"/>
                </a:cubicBezTo>
                <a:cubicBezTo>
                  <a:pt x="256" y="213"/>
                  <a:pt x="256" y="213"/>
                  <a:pt x="256" y="213"/>
                </a:cubicBezTo>
                <a:cubicBezTo>
                  <a:pt x="234" y="213"/>
                  <a:pt x="234" y="213"/>
                  <a:pt x="234" y="213"/>
                </a:cubicBezTo>
                <a:lnTo>
                  <a:pt x="234" y="394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73" y="117"/>
                </a:moveTo>
                <a:cubicBezTo>
                  <a:pt x="373" y="111"/>
                  <a:pt x="368" y="106"/>
                  <a:pt x="362" y="106"/>
                </a:cubicBezTo>
                <a:cubicBezTo>
                  <a:pt x="320" y="106"/>
                  <a:pt x="320" y="106"/>
                  <a:pt x="320" y="106"/>
                </a:cubicBezTo>
                <a:cubicBezTo>
                  <a:pt x="314" y="106"/>
                  <a:pt x="309" y="111"/>
                  <a:pt x="309" y="117"/>
                </a:cubicBezTo>
                <a:cubicBezTo>
                  <a:pt x="309" y="128"/>
                  <a:pt x="309" y="128"/>
                  <a:pt x="309" y="128"/>
                </a:cubicBezTo>
                <a:cubicBezTo>
                  <a:pt x="277" y="128"/>
                  <a:pt x="277" y="128"/>
                  <a:pt x="277" y="128"/>
                </a:cubicBezTo>
                <a:cubicBezTo>
                  <a:pt x="277" y="106"/>
                  <a:pt x="277" y="106"/>
                  <a:pt x="277" y="106"/>
                </a:cubicBezTo>
                <a:cubicBezTo>
                  <a:pt x="277" y="100"/>
                  <a:pt x="272" y="96"/>
                  <a:pt x="266" y="96"/>
                </a:cubicBezTo>
                <a:cubicBezTo>
                  <a:pt x="224" y="96"/>
                  <a:pt x="224" y="96"/>
                  <a:pt x="224" y="96"/>
                </a:cubicBezTo>
                <a:cubicBezTo>
                  <a:pt x="218" y="96"/>
                  <a:pt x="213" y="100"/>
                  <a:pt x="213" y="106"/>
                </a:cubicBezTo>
                <a:cubicBezTo>
                  <a:pt x="213" y="128"/>
                  <a:pt x="213" y="128"/>
                  <a:pt x="213" y="128"/>
                </a:cubicBezTo>
                <a:cubicBezTo>
                  <a:pt x="192" y="128"/>
                  <a:pt x="192" y="128"/>
                  <a:pt x="192" y="128"/>
                </a:cubicBezTo>
                <a:cubicBezTo>
                  <a:pt x="186" y="128"/>
                  <a:pt x="181" y="132"/>
                  <a:pt x="181" y="138"/>
                </a:cubicBezTo>
                <a:cubicBezTo>
                  <a:pt x="181" y="143"/>
                  <a:pt x="180" y="146"/>
                  <a:pt x="177" y="149"/>
                </a:cubicBezTo>
                <a:cubicBezTo>
                  <a:pt x="167" y="158"/>
                  <a:pt x="146" y="160"/>
                  <a:pt x="138" y="160"/>
                </a:cubicBezTo>
                <a:cubicBezTo>
                  <a:pt x="136" y="160"/>
                  <a:pt x="133" y="161"/>
                  <a:pt x="131" y="163"/>
                </a:cubicBezTo>
                <a:cubicBezTo>
                  <a:pt x="129" y="165"/>
                  <a:pt x="128" y="167"/>
                  <a:pt x="128" y="170"/>
                </a:cubicBezTo>
                <a:cubicBezTo>
                  <a:pt x="128" y="202"/>
                  <a:pt x="128" y="202"/>
                  <a:pt x="128" y="202"/>
                </a:cubicBezTo>
                <a:cubicBezTo>
                  <a:pt x="128" y="208"/>
                  <a:pt x="132" y="213"/>
                  <a:pt x="138" y="213"/>
                </a:cubicBezTo>
                <a:cubicBezTo>
                  <a:pt x="213" y="213"/>
                  <a:pt x="213" y="213"/>
                  <a:pt x="213" y="213"/>
                </a:cubicBezTo>
                <a:cubicBezTo>
                  <a:pt x="213" y="405"/>
                  <a:pt x="213" y="405"/>
                  <a:pt x="213" y="405"/>
                </a:cubicBezTo>
                <a:cubicBezTo>
                  <a:pt x="213" y="411"/>
                  <a:pt x="218" y="416"/>
                  <a:pt x="224" y="416"/>
                </a:cubicBezTo>
                <a:cubicBezTo>
                  <a:pt x="266" y="416"/>
                  <a:pt x="266" y="416"/>
                  <a:pt x="266" y="416"/>
                </a:cubicBezTo>
                <a:cubicBezTo>
                  <a:pt x="272" y="416"/>
                  <a:pt x="277" y="411"/>
                  <a:pt x="277" y="405"/>
                </a:cubicBezTo>
                <a:cubicBezTo>
                  <a:pt x="277" y="213"/>
                  <a:pt x="277" y="213"/>
                  <a:pt x="277" y="213"/>
                </a:cubicBezTo>
                <a:cubicBezTo>
                  <a:pt x="309" y="213"/>
                  <a:pt x="309" y="213"/>
                  <a:pt x="309" y="213"/>
                </a:cubicBezTo>
                <a:cubicBezTo>
                  <a:pt x="309" y="224"/>
                  <a:pt x="309" y="224"/>
                  <a:pt x="309" y="224"/>
                </a:cubicBezTo>
                <a:cubicBezTo>
                  <a:pt x="309" y="230"/>
                  <a:pt x="314" y="234"/>
                  <a:pt x="320" y="234"/>
                </a:cubicBezTo>
                <a:cubicBezTo>
                  <a:pt x="362" y="234"/>
                  <a:pt x="362" y="234"/>
                  <a:pt x="362" y="234"/>
                </a:cubicBezTo>
                <a:cubicBezTo>
                  <a:pt x="368" y="234"/>
                  <a:pt x="373" y="230"/>
                  <a:pt x="373" y="224"/>
                </a:cubicBezTo>
                <a:lnTo>
                  <a:pt x="373" y="117"/>
                </a:lnTo>
                <a:close/>
                <a:moveTo>
                  <a:pt x="330" y="213"/>
                </a:moveTo>
                <a:cubicBezTo>
                  <a:pt x="352" y="213"/>
                  <a:pt x="352" y="213"/>
                  <a:pt x="352" y="213"/>
                </a:cubicBezTo>
                <a:cubicBezTo>
                  <a:pt x="352" y="128"/>
                  <a:pt x="352" y="128"/>
                  <a:pt x="352" y="128"/>
                </a:cubicBezTo>
                <a:cubicBezTo>
                  <a:pt x="330" y="128"/>
                  <a:pt x="330" y="128"/>
                  <a:pt x="330" y="128"/>
                </a:cubicBezTo>
                <a:lnTo>
                  <a:pt x="330" y="213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121446" tIns="60723" rIns="121446" bIns="60723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1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" name="object 65">
            <a:extLst>
              <a:ext uri="{FF2B5EF4-FFF2-40B4-BE49-F238E27FC236}">
                <a16:creationId xmlns:a16="http://schemas.microsoft.com/office/drawing/2014/main" id="{8C16D7B1-BDFB-4DD5-941C-97DE3DDBE1EA}"/>
              </a:ext>
            </a:extLst>
          </p:cNvPr>
          <p:cNvSpPr/>
          <p:nvPr/>
        </p:nvSpPr>
        <p:spPr>
          <a:xfrm rot="20929925">
            <a:off x="1056786" y="1643113"/>
            <a:ext cx="1615196" cy="240573"/>
          </a:xfrm>
          <a:custGeom>
            <a:avLst/>
            <a:gdLst/>
            <a:ahLst/>
            <a:cxnLst/>
            <a:rect l="l" t="t" r="r" b="b"/>
            <a:pathLst>
              <a:path w="1685289" h="352425">
                <a:moveTo>
                  <a:pt x="1621144" y="306764"/>
                </a:moveTo>
                <a:lnTo>
                  <a:pt x="1602486" y="327913"/>
                </a:lnTo>
                <a:lnTo>
                  <a:pt x="1684782" y="349758"/>
                </a:lnTo>
                <a:lnTo>
                  <a:pt x="1670790" y="315087"/>
                </a:lnTo>
                <a:lnTo>
                  <a:pt x="1631188" y="315087"/>
                </a:lnTo>
                <a:lnTo>
                  <a:pt x="1621144" y="306764"/>
                </a:lnTo>
                <a:close/>
              </a:path>
              <a:path w="1685289" h="352425">
                <a:moveTo>
                  <a:pt x="1633736" y="292491"/>
                </a:moveTo>
                <a:lnTo>
                  <a:pt x="1621144" y="306764"/>
                </a:lnTo>
                <a:lnTo>
                  <a:pt x="1631188" y="315087"/>
                </a:lnTo>
                <a:lnTo>
                  <a:pt x="1643380" y="300482"/>
                </a:lnTo>
                <a:lnTo>
                  <a:pt x="1633736" y="292491"/>
                </a:lnTo>
                <a:close/>
              </a:path>
              <a:path w="1685289" h="352425">
                <a:moveTo>
                  <a:pt x="1652905" y="270763"/>
                </a:moveTo>
                <a:lnTo>
                  <a:pt x="1633736" y="292491"/>
                </a:lnTo>
                <a:lnTo>
                  <a:pt x="1643380" y="300482"/>
                </a:lnTo>
                <a:lnTo>
                  <a:pt x="1631188" y="315087"/>
                </a:lnTo>
                <a:lnTo>
                  <a:pt x="1670790" y="315087"/>
                </a:lnTo>
                <a:lnTo>
                  <a:pt x="1652905" y="270763"/>
                </a:lnTo>
                <a:close/>
              </a:path>
              <a:path w="1685289" h="352425">
                <a:moveTo>
                  <a:pt x="1583689" y="252222"/>
                </a:moveTo>
                <a:lnTo>
                  <a:pt x="1572387" y="267588"/>
                </a:lnTo>
                <a:lnTo>
                  <a:pt x="1585976" y="277622"/>
                </a:lnTo>
                <a:lnTo>
                  <a:pt x="1621144" y="306764"/>
                </a:lnTo>
                <a:lnTo>
                  <a:pt x="1633736" y="292491"/>
                </a:lnTo>
                <a:lnTo>
                  <a:pt x="1598168" y="263017"/>
                </a:lnTo>
                <a:lnTo>
                  <a:pt x="1583689" y="252222"/>
                </a:lnTo>
                <a:close/>
              </a:path>
              <a:path w="1685289" h="352425">
                <a:moveTo>
                  <a:pt x="1472311" y="177292"/>
                </a:moveTo>
                <a:lnTo>
                  <a:pt x="1462532" y="193675"/>
                </a:lnTo>
                <a:lnTo>
                  <a:pt x="1488567" y="209296"/>
                </a:lnTo>
                <a:lnTo>
                  <a:pt x="1526286" y="234442"/>
                </a:lnTo>
                <a:lnTo>
                  <a:pt x="1536954" y="218694"/>
                </a:lnTo>
                <a:lnTo>
                  <a:pt x="1499108" y="193421"/>
                </a:lnTo>
                <a:lnTo>
                  <a:pt x="1472311" y="177292"/>
                </a:lnTo>
                <a:close/>
              </a:path>
              <a:path w="1685289" h="352425">
                <a:moveTo>
                  <a:pt x="1353693" y="114553"/>
                </a:moveTo>
                <a:lnTo>
                  <a:pt x="1345564" y="131825"/>
                </a:lnTo>
                <a:lnTo>
                  <a:pt x="1386586" y="151384"/>
                </a:lnTo>
                <a:lnTo>
                  <a:pt x="1413256" y="165608"/>
                </a:lnTo>
                <a:lnTo>
                  <a:pt x="1422273" y="148844"/>
                </a:lnTo>
                <a:lnTo>
                  <a:pt x="1395602" y="134493"/>
                </a:lnTo>
                <a:lnTo>
                  <a:pt x="1353693" y="114553"/>
                </a:lnTo>
                <a:close/>
              </a:path>
              <a:path w="1685289" h="352425">
                <a:moveTo>
                  <a:pt x="1228725" y="64770"/>
                </a:moveTo>
                <a:lnTo>
                  <a:pt x="1223010" y="82931"/>
                </a:lnTo>
                <a:lnTo>
                  <a:pt x="1226820" y="84200"/>
                </a:lnTo>
                <a:lnTo>
                  <a:pt x="1280922" y="103886"/>
                </a:lnTo>
                <a:lnTo>
                  <a:pt x="1293495" y="109220"/>
                </a:lnTo>
                <a:lnTo>
                  <a:pt x="1300861" y="91694"/>
                </a:lnTo>
                <a:lnTo>
                  <a:pt x="1288288" y="86360"/>
                </a:lnTo>
                <a:lnTo>
                  <a:pt x="1233424" y="66294"/>
                </a:lnTo>
                <a:lnTo>
                  <a:pt x="1228725" y="64770"/>
                </a:lnTo>
                <a:close/>
              </a:path>
              <a:path w="1685289" h="352425">
                <a:moveTo>
                  <a:pt x="1099312" y="29210"/>
                </a:moveTo>
                <a:lnTo>
                  <a:pt x="1095375" y="47751"/>
                </a:lnTo>
                <a:lnTo>
                  <a:pt x="1116965" y="52450"/>
                </a:lnTo>
                <a:lnTo>
                  <a:pt x="1168781" y="66039"/>
                </a:lnTo>
                <a:lnTo>
                  <a:pt x="1173734" y="47625"/>
                </a:lnTo>
                <a:lnTo>
                  <a:pt x="1121918" y="34036"/>
                </a:lnTo>
                <a:lnTo>
                  <a:pt x="1099312" y="29210"/>
                </a:lnTo>
                <a:close/>
              </a:path>
              <a:path w="1685289" h="352425">
                <a:moveTo>
                  <a:pt x="966978" y="7365"/>
                </a:moveTo>
                <a:lnTo>
                  <a:pt x="964692" y="26288"/>
                </a:lnTo>
                <a:lnTo>
                  <a:pt x="1005459" y="31114"/>
                </a:lnTo>
                <a:lnTo>
                  <a:pt x="1039749" y="36957"/>
                </a:lnTo>
                <a:lnTo>
                  <a:pt x="1042797" y="18161"/>
                </a:lnTo>
                <a:lnTo>
                  <a:pt x="1008634" y="12446"/>
                </a:lnTo>
                <a:lnTo>
                  <a:pt x="966978" y="7365"/>
                </a:lnTo>
                <a:close/>
              </a:path>
              <a:path w="1685289" h="352425">
                <a:moveTo>
                  <a:pt x="837057" y="0"/>
                </a:moveTo>
                <a:lnTo>
                  <a:pt x="832612" y="0"/>
                </a:lnTo>
                <a:lnTo>
                  <a:pt x="832993" y="19050"/>
                </a:lnTo>
                <a:lnTo>
                  <a:pt x="836549" y="19050"/>
                </a:lnTo>
                <a:lnTo>
                  <a:pt x="892937" y="20447"/>
                </a:lnTo>
                <a:lnTo>
                  <a:pt x="908177" y="21462"/>
                </a:lnTo>
                <a:lnTo>
                  <a:pt x="909574" y="2539"/>
                </a:lnTo>
                <a:lnTo>
                  <a:pt x="894334" y="1397"/>
                </a:lnTo>
                <a:lnTo>
                  <a:pt x="837057" y="0"/>
                </a:lnTo>
                <a:close/>
              </a:path>
              <a:path w="1685289" h="352425">
                <a:moveTo>
                  <a:pt x="774954" y="1397"/>
                </a:moveTo>
                <a:lnTo>
                  <a:pt x="722884" y="4952"/>
                </a:lnTo>
                <a:lnTo>
                  <a:pt x="698627" y="7747"/>
                </a:lnTo>
                <a:lnTo>
                  <a:pt x="700786" y="26670"/>
                </a:lnTo>
                <a:lnTo>
                  <a:pt x="724281" y="24002"/>
                </a:lnTo>
                <a:lnTo>
                  <a:pt x="776224" y="20447"/>
                </a:lnTo>
                <a:lnTo>
                  <a:pt x="774954" y="1397"/>
                </a:lnTo>
                <a:close/>
              </a:path>
              <a:path w="1685289" h="352425">
                <a:moveTo>
                  <a:pt x="641604" y="15494"/>
                </a:moveTo>
                <a:lnTo>
                  <a:pt x="609854" y="20574"/>
                </a:lnTo>
                <a:lnTo>
                  <a:pt x="566293" y="29845"/>
                </a:lnTo>
                <a:lnTo>
                  <a:pt x="570230" y="48513"/>
                </a:lnTo>
                <a:lnTo>
                  <a:pt x="612902" y="39370"/>
                </a:lnTo>
                <a:lnTo>
                  <a:pt x="644652" y="34289"/>
                </a:lnTo>
                <a:lnTo>
                  <a:pt x="641604" y="15494"/>
                </a:lnTo>
                <a:close/>
              </a:path>
              <a:path w="1685289" h="352425">
                <a:moveTo>
                  <a:pt x="510413" y="43814"/>
                </a:moveTo>
                <a:lnTo>
                  <a:pt x="498602" y="46989"/>
                </a:lnTo>
                <a:lnTo>
                  <a:pt x="443992" y="64135"/>
                </a:lnTo>
                <a:lnTo>
                  <a:pt x="436753" y="66801"/>
                </a:lnTo>
                <a:lnTo>
                  <a:pt x="443357" y="84709"/>
                </a:lnTo>
                <a:lnTo>
                  <a:pt x="449707" y="82296"/>
                </a:lnTo>
                <a:lnTo>
                  <a:pt x="503555" y="65405"/>
                </a:lnTo>
                <a:lnTo>
                  <a:pt x="515239" y="62357"/>
                </a:lnTo>
                <a:lnTo>
                  <a:pt x="510413" y="43814"/>
                </a:lnTo>
                <a:close/>
              </a:path>
              <a:path w="1685289" h="352425">
                <a:moveTo>
                  <a:pt x="382905" y="86995"/>
                </a:moveTo>
                <a:lnTo>
                  <a:pt x="337185" y="106425"/>
                </a:lnTo>
                <a:lnTo>
                  <a:pt x="312928" y="118237"/>
                </a:lnTo>
                <a:lnTo>
                  <a:pt x="321183" y="135382"/>
                </a:lnTo>
                <a:lnTo>
                  <a:pt x="344678" y="123951"/>
                </a:lnTo>
                <a:lnTo>
                  <a:pt x="390398" y="104521"/>
                </a:lnTo>
                <a:lnTo>
                  <a:pt x="382905" y="86995"/>
                </a:lnTo>
                <a:close/>
              </a:path>
              <a:path w="1685289" h="352425">
                <a:moveTo>
                  <a:pt x="261620" y="144525"/>
                </a:moveTo>
                <a:lnTo>
                  <a:pt x="234442" y="159385"/>
                </a:lnTo>
                <a:lnTo>
                  <a:pt x="195580" y="183387"/>
                </a:lnTo>
                <a:lnTo>
                  <a:pt x="205486" y="199517"/>
                </a:lnTo>
                <a:lnTo>
                  <a:pt x="243586" y="176149"/>
                </a:lnTo>
                <a:lnTo>
                  <a:pt x="270764" y="161289"/>
                </a:lnTo>
                <a:lnTo>
                  <a:pt x="261620" y="144525"/>
                </a:lnTo>
                <a:close/>
              </a:path>
              <a:path w="1685289" h="352425">
                <a:moveTo>
                  <a:pt x="147574" y="215392"/>
                </a:moveTo>
                <a:lnTo>
                  <a:pt x="136398" y="223138"/>
                </a:lnTo>
                <a:lnTo>
                  <a:pt x="89408" y="258952"/>
                </a:lnTo>
                <a:lnTo>
                  <a:pt x="85979" y="261747"/>
                </a:lnTo>
                <a:lnTo>
                  <a:pt x="98298" y="276225"/>
                </a:lnTo>
                <a:lnTo>
                  <a:pt x="100837" y="274065"/>
                </a:lnTo>
                <a:lnTo>
                  <a:pt x="147193" y="238760"/>
                </a:lnTo>
                <a:lnTo>
                  <a:pt x="158369" y="231139"/>
                </a:lnTo>
                <a:lnTo>
                  <a:pt x="147574" y="215392"/>
                </a:lnTo>
                <a:close/>
              </a:path>
              <a:path w="1685289" h="352425">
                <a:moveTo>
                  <a:pt x="42037" y="299085"/>
                </a:moveTo>
                <a:lnTo>
                  <a:pt x="0" y="338582"/>
                </a:lnTo>
                <a:lnTo>
                  <a:pt x="13081" y="352425"/>
                </a:lnTo>
                <a:lnTo>
                  <a:pt x="55118" y="313055"/>
                </a:lnTo>
                <a:lnTo>
                  <a:pt x="42037" y="299085"/>
                </a:lnTo>
                <a:close/>
              </a:path>
            </a:pathLst>
          </a:custGeom>
          <a:solidFill>
            <a:srgbClr val="A6A6A6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8F1AF45-88CD-443E-9DEA-CF87C97B64C7}"/>
              </a:ext>
            </a:extLst>
          </p:cNvPr>
          <p:cNvSpPr txBox="1"/>
          <p:nvPr/>
        </p:nvSpPr>
        <p:spPr>
          <a:xfrm>
            <a:off x="1073477" y="1343179"/>
            <a:ext cx="1150366" cy="1977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-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Ikke-faglig innkjøpsbehov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58DA560-7E34-44DB-84E7-F276C28ED0E5}"/>
              </a:ext>
            </a:extLst>
          </p:cNvPr>
          <p:cNvSpPr txBox="1"/>
          <p:nvPr/>
        </p:nvSpPr>
        <p:spPr>
          <a:xfrm>
            <a:off x="1364790" y="2765109"/>
            <a:ext cx="1058086" cy="3610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-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Faglig</a:t>
            </a:r>
            <a:r>
              <a:rPr kumimoji="0" lang="nb-NO" sz="900" b="0" i="0" u="none" strike="noStrike" kern="1200" cap="none" spc="-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</a:t>
            </a:r>
            <a:r>
              <a:rPr kumimoji="0" lang="nb-NO" sz="900" b="1" i="0" u="none" strike="noStrike" kern="1200" cap="none" spc="-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innkjøpsbehov</a:t>
            </a:r>
          </a:p>
        </p:txBody>
      </p: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DA0FD5BE-61C5-4307-9BA2-A698941C1960}"/>
              </a:ext>
            </a:extLst>
          </p:cNvPr>
          <p:cNvGrpSpPr/>
          <p:nvPr/>
        </p:nvGrpSpPr>
        <p:grpSpPr>
          <a:xfrm>
            <a:off x="7721475" y="3174086"/>
            <a:ext cx="1391579" cy="1248063"/>
            <a:chOff x="2682578" y="3293298"/>
            <a:chExt cx="1360606" cy="1224343"/>
          </a:xfrm>
        </p:grpSpPr>
        <p:sp>
          <p:nvSpPr>
            <p:cNvPr id="105" name="object 17">
              <a:extLst>
                <a:ext uri="{FF2B5EF4-FFF2-40B4-BE49-F238E27FC236}">
                  <a16:creationId xmlns:a16="http://schemas.microsoft.com/office/drawing/2014/main" id="{FD70F499-3A8C-4D7D-AF22-1281072B5A74}"/>
                </a:ext>
              </a:extLst>
            </p:cNvPr>
            <p:cNvSpPr/>
            <p:nvPr/>
          </p:nvSpPr>
          <p:spPr>
            <a:xfrm>
              <a:off x="2751325" y="3356273"/>
              <a:ext cx="1041190" cy="1161368"/>
            </a:xfrm>
            <a:custGeom>
              <a:avLst/>
              <a:gdLst/>
              <a:ahLst/>
              <a:cxnLst/>
              <a:rect l="l" t="t" r="r" b="b"/>
              <a:pathLst>
                <a:path w="1259839" h="1405254">
                  <a:moveTo>
                    <a:pt x="556132" y="0"/>
                  </a:moveTo>
                  <a:lnTo>
                    <a:pt x="604293" y="1620"/>
                  </a:lnTo>
                  <a:lnTo>
                    <a:pt x="651582" y="6414"/>
                  </a:lnTo>
                  <a:lnTo>
                    <a:pt x="697894" y="14274"/>
                  </a:lnTo>
                  <a:lnTo>
                    <a:pt x="743124" y="25098"/>
                  </a:lnTo>
                  <a:lnTo>
                    <a:pt x="787169" y="38780"/>
                  </a:lnTo>
                  <a:lnTo>
                    <a:pt x="829923" y="55215"/>
                  </a:lnTo>
                  <a:lnTo>
                    <a:pt x="871281" y="74299"/>
                  </a:lnTo>
                  <a:lnTo>
                    <a:pt x="911140" y="95927"/>
                  </a:lnTo>
                  <a:lnTo>
                    <a:pt x="949394" y="119994"/>
                  </a:lnTo>
                  <a:lnTo>
                    <a:pt x="985938" y="146397"/>
                  </a:lnTo>
                  <a:lnTo>
                    <a:pt x="1020669" y="175029"/>
                  </a:lnTo>
                  <a:lnTo>
                    <a:pt x="1053480" y="205787"/>
                  </a:lnTo>
                  <a:lnTo>
                    <a:pt x="1084269" y="238566"/>
                  </a:lnTo>
                  <a:lnTo>
                    <a:pt x="1112929" y="273261"/>
                  </a:lnTo>
                  <a:lnTo>
                    <a:pt x="1139356" y="309767"/>
                  </a:lnTo>
                  <a:lnTo>
                    <a:pt x="1163447" y="347980"/>
                  </a:lnTo>
                  <a:lnTo>
                    <a:pt x="1185094" y="387794"/>
                  </a:lnTo>
                  <a:lnTo>
                    <a:pt x="1204196" y="429107"/>
                  </a:lnTo>
                  <a:lnTo>
                    <a:pt x="1220645" y="471812"/>
                  </a:lnTo>
                  <a:lnTo>
                    <a:pt x="1234339" y="515805"/>
                  </a:lnTo>
                  <a:lnTo>
                    <a:pt x="1245172" y="560981"/>
                  </a:lnTo>
                  <a:lnTo>
                    <a:pt x="1253039" y="607236"/>
                  </a:lnTo>
                  <a:lnTo>
                    <a:pt x="1257836" y="654465"/>
                  </a:lnTo>
                  <a:lnTo>
                    <a:pt x="1259459" y="702563"/>
                  </a:lnTo>
                  <a:lnTo>
                    <a:pt x="1257836" y="750662"/>
                  </a:lnTo>
                  <a:lnTo>
                    <a:pt x="1253039" y="797891"/>
                  </a:lnTo>
                  <a:lnTo>
                    <a:pt x="1245172" y="844146"/>
                  </a:lnTo>
                  <a:lnTo>
                    <a:pt x="1234339" y="889322"/>
                  </a:lnTo>
                  <a:lnTo>
                    <a:pt x="1220645" y="933315"/>
                  </a:lnTo>
                  <a:lnTo>
                    <a:pt x="1204196" y="976020"/>
                  </a:lnTo>
                  <a:lnTo>
                    <a:pt x="1185094" y="1017333"/>
                  </a:lnTo>
                  <a:lnTo>
                    <a:pt x="1163447" y="1057147"/>
                  </a:lnTo>
                  <a:lnTo>
                    <a:pt x="1139356" y="1095360"/>
                  </a:lnTo>
                  <a:lnTo>
                    <a:pt x="1112929" y="1131866"/>
                  </a:lnTo>
                  <a:lnTo>
                    <a:pt x="1084269" y="1166561"/>
                  </a:lnTo>
                  <a:lnTo>
                    <a:pt x="1053480" y="1199340"/>
                  </a:lnTo>
                  <a:lnTo>
                    <a:pt x="1020669" y="1230098"/>
                  </a:lnTo>
                  <a:lnTo>
                    <a:pt x="985938" y="1258730"/>
                  </a:lnTo>
                  <a:lnTo>
                    <a:pt x="949394" y="1285133"/>
                  </a:lnTo>
                  <a:lnTo>
                    <a:pt x="911140" y="1309200"/>
                  </a:lnTo>
                  <a:lnTo>
                    <a:pt x="871281" y="1330828"/>
                  </a:lnTo>
                  <a:lnTo>
                    <a:pt x="829923" y="1349912"/>
                  </a:lnTo>
                  <a:lnTo>
                    <a:pt x="787169" y="1366347"/>
                  </a:lnTo>
                  <a:lnTo>
                    <a:pt x="743124" y="1380029"/>
                  </a:lnTo>
                  <a:lnTo>
                    <a:pt x="697894" y="1390853"/>
                  </a:lnTo>
                  <a:lnTo>
                    <a:pt x="651582" y="1398713"/>
                  </a:lnTo>
                  <a:lnTo>
                    <a:pt x="604293" y="1403507"/>
                  </a:lnTo>
                  <a:lnTo>
                    <a:pt x="556132" y="1405128"/>
                  </a:lnTo>
                  <a:lnTo>
                    <a:pt x="506172" y="1403355"/>
                  </a:lnTo>
                  <a:lnTo>
                    <a:pt x="456808" y="1398092"/>
                  </a:lnTo>
                  <a:lnTo>
                    <a:pt x="408205" y="1389418"/>
                  </a:lnTo>
                  <a:lnTo>
                    <a:pt x="360525" y="1377414"/>
                  </a:lnTo>
                  <a:lnTo>
                    <a:pt x="313933" y="1362159"/>
                  </a:lnTo>
                  <a:lnTo>
                    <a:pt x="268593" y="1343733"/>
                  </a:lnTo>
                  <a:lnTo>
                    <a:pt x="224667" y="1322217"/>
                  </a:lnTo>
                  <a:lnTo>
                    <a:pt x="182321" y="1297691"/>
                  </a:lnTo>
                  <a:lnTo>
                    <a:pt x="141717" y="1270235"/>
                  </a:lnTo>
                  <a:lnTo>
                    <a:pt x="103019" y="1239929"/>
                  </a:lnTo>
                  <a:lnTo>
                    <a:pt x="66391" y="1206853"/>
                  </a:lnTo>
                  <a:lnTo>
                    <a:pt x="31997" y="1171088"/>
                  </a:lnTo>
                  <a:lnTo>
                    <a:pt x="0" y="1132713"/>
                  </a:lnTo>
                </a:path>
              </a:pathLst>
            </a:custGeom>
            <a:ln w="15240">
              <a:solidFill>
                <a:schemeClr val="tx2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06" name="object 18">
              <a:extLst>
                <a:ext uri="{FF2B5EF4-FFF2-40B4-BE49-F238E27FC236}">
                  <a16:creationId xmlns:a16="http://schemas.microsoft.com/office/drawing/2014/main" id="{85444CEF-0D92-45E1-935E-39D69785A112}"/>
                </a:ext>
              </a:extLst>
            </p:cNvPr>
            <p:cNvSpPr/>
            <p:nvPr/>
          </p:nvSpPr>
          <p:spPr>
            <a:xfrm>
              <a:off x="2682578" y="3409172"/>
              <a:ext cx="1056934" cy="1055884"/>
            </a:xfrm>
            <a:custGeom>
              <a:avLst/>
              <a:gdLst/>
              <a:ahLst/>
              <a:cxnLst/>
              <a:rect l="l" t="t" r="r" b="b"/>
              <a:pathLst>
                <a:path w="1278889" h="1277620">
                  <a:moveTo>
                    <a:pt x="639317" y="0"/>
                  </a:moveTo>
                  <a:lnTo>
                    <a:pt x="687027" y="1751"/>
                  </a:lnTo>
                  <a:lnTo>
                    <a:pt x="733785" y="6923"/>
                  </a:lnTo>
                  <a:lnTo>
                    <a:pt x="779468" y="15392"/>
                  </a:lnTo>
                  <a:lnTo>
                    <a:pt x="823952" y="27034"/>
                  </a:lnTo>
                  <a:lnTo>
                    <a:pt x="867112" y="41727"/>
                  </a:lnTo>
                  <a:lnTo>
                    <a:pt x="908827" y="59346"/>
                  </a:lnTo>
                  <a:lnTo>
                    <a:pt x="948971" y="79769"/>
                  </a:lnTo>
                  <a:lnTo>
                    <a:pt x="987422" y="102871"/>
                  </a:lnTo>
                  <a:lnTo>
                    <a:pt x="1024055" y="128530"/>
                  </a:lnTo>
                  <a:lnTo>
                    <a:pt x="1058747" y="156622"/>
                  </a:lnTo>
                  <a:lnTo>
                    <a:pt x="1091374" y="187023"/>
                  </a:lnTo>
                  <a:lnTo>
                    <a:pt x="1121813" y="219610"/>
                  </a:lnTo>
                  <a:lnTo>
                    <a:pt x="1149940" y="254260"/>
                  </a:lnTo>
                  <a:lnTo>
                    <a:pt x="1175631" y="290849"/>
                  </a:lnTo>
                  <a:lnTo>
                    <a:pt x="1198763" y="329253"/>
                  </a:lnTo>
                  <a:lnTo>
                    <a:pt x="1219212" y="369350"/>
                  </a:lnTo>
                  <a:lnTo>
                    <a:pt x="1236854" y="411016"/>
                  </a:lnTo>
                  <a:lnTo>
                    <a:pt x="1251565" y="454127"/>
                  </a:lnTo>
                  <a:lnTo>
                    <a:pt x="1263223" y="498560"/>
                  </a:lnTo>
                  <a:lnTo>
                    <a:pt x="1271703" y="544191"/>
                  </a:lnTo>
                  <a:lnTo>
                    <a:pt x="1276882" y="590898"/>
                  </a:lnTo>
                  <a:lnTo>
                    <a:pt x="1278636" y="638555"/>
                  </a:lnTo>
                  <a:lnTo>
                    <a:pt x="1276882" y="686213"/>
                  </a:lnTo>
                  <a:lnTo>
                    <a:pt x="1271703" y="732920"/>
                  </a:lnTo>
                  <a:lnTo>
                    <a:pt x="1263223" y="778551"/>
                  </a:lnTo>
                  <a:lnTo>
                    <a:pt x="1251565" y="822984"/>
                  </a:lnTo>
                  <a:lnTo>
                    <a:pt x="1236854" y="866095"/>
                  </a:lnTo>
                  <a:lnTo>
                    <a:pt x="1219212" y="907761"/>
                  </a:lnTo>
                  <a:lnTo>
                    <a:pt x="1198763" y="947858"/>
                  </a:lnTo>
                  <a:lnTo>
                    <a:pt x="1175631" y="986262"/>
                  </a:lnTo>
                  <a:lnTo>
                    <a:pt x="1149940" y="1022851"/>
                  </a:lnTo>
                  <a:lnTo>
                    <a:pt x="1121813" y="1057501"/>
                  </a:lnTo>
                  <a:lnTo>
                    <a:pt x="1091374" y="1090088"/>
                  </a:lnTo>
                  <a:lnTo>
                    <a:pt x="1058747" y="1120489"/>
                  </a:lnTo>
                  <a:lnTo>
                    <a:pt x="1024055" y="1148581"/>
                  </a:lnTo>
                  <a:lnTo>
                    <a:pt x="987422" y="1174240"/>
                  </a:lnTo>
                  <a:lnTo>
                    <a:pt x="948971" y="1197342"/>
                  </a:lnTo>
                  <a:lnTo>
                    <a:pt x="908827" y="1217765"/>
                  </a:lnTo>
                  <a:lnTo>
                    <a:pt x="867112" y="1235384"/>
                  </a:lnTo>
                  <a:lnTo>
                    <a:pt x="823952" y="1250077"/>
                  </a:lnTo>
                  <a:lnTo>
                    <a:pt x="779468" y="1261719"/>
                  </a:lnTo>
                  <a:lnTo>
                    <a:pt x="733785" y="1270188"/>
                  </a:lnTo>
                  <a:lnTo>
                    <a:pt x="687027" y="1275360"/>
                  </a:lnTo>
                  <a:lnTo>
                    <a:pt x="639317" y="1277112"/>
                  </a:lnTo>
                  <a:lnTo>
                    <a:pt x="591608" y="1275360"/>
                  </a:lnTo>
                  <a:lnTo>
                    <a:pt x="544850" y="1270188"/>
                  </a:lnTo>
                  <a:lnTo>
                    <a:pt x="499167" y="1261719"/>
                  </a:lnTo>
                  <a:lnTo>
                    <a:pt x="454683" y="1250077"/>
                  </a:lnTo>
                  <a:lnTo>
                    <a:pt x="411523" y="1235384"/>
                  </a:lnTo>
                  <a:lnTo>
                    <a:pt x="369808" y="1217765"/>
                  </a:lnTo>
                  <a:lnTo>
                    <a:pt x="329664" y="1197342"/>
                  </a:lnTo>
                  <a:lnTo>
                    <a:pt x="291213" y="1174240"/>
                  </a:lnTo>
                  <a:lnTo>
                    <a:pt x="254580" y="1148581"/>
                  </a:lnTo>
                  <a:lnTo>
                    <a:pt x="219888" y="1120489"/>
                  </a:lnTo>
                  <a:lnTo>
                    <a:pt x="187261" y="1090088"/>
                  </a:lnTo>
                  <a:lnTo>
                    <a:pt x="156822" y="1057501"/>
                  </a:lnTo>
                  <a:lnTo>
                    <a:pt x="128695" y="1022851"/>
                  </a:lnTo>
                  <a:lnTo>
                    <a:pt x="103004" y="986262"/>
                  </a:lnTo>
                  <a:lnTo>
                    <a:pt x="79872" y="947858"/>
                  </a:lnTo>
                  <a:lnTo>
                    <a:pt x="59423" y="907761"/>
                  </a:lnTo>
                  <a:lnTo>
                    <a:pt x="41781" y="866095"/>
                  </a:lnTo>
                  <a:lnTo>
                    <a:pt x="27070" y="822984"/>
                  </a:lnTo>
                  <a:lnTo>
                    <a:pt x="15412" y="778551"/>
                  </a:lnTo>
                  <a:lnTo>
                    <a:pt x="6932" y="732920"/>
                  </a:lnTo>
                  <a:lnTo>
                    <a:pt x="1753" y="686213"/>
                  </a:lnTo>
                  <a:lnTo>
                    <a:pt x="0" y="638555"/>
                  </a:lnTo>
                  <a:lnTo>
                    <a:pt x="2217" y="585401"/>
                  </a:lnTo>
                  <a:lnTo>
                    <a:pt x="8812" y="532886"/>
                  </a:lnTo>
                  <a:lnTo>
                    <a:pt x="19696" y="481266"/>
                  </a:lnTo>
                  <a:lnTo>
                    <a:pt x="34782" y="430799"/>
                  </a:lnTo>
                  <a:lnTo>
                    <a:pt x="53981" y="381744"/>
                  </a:lnTo>
                  <a:lnTo>
                    <a:pt x="77206" y="334357"/>
                  </a:lnTo>
                  <a:lnTo>
                    <a:pt x="104368" y="288895"/>
                  </a:lnTo>
                  <a:lnTo>
                    <a:pt x="135382" y="245617"/>
                  </a:lnTo>
                </a:path>
              </a:pathLst>
            </a:custGeom>
            <a:ln w="15240">
              <a:solidFill>
                <a:schemeClr val="tx2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07" name="object 19">
              <a:extLst>
                <a:ext uri="{FF2B5EF4-FFF2-40B4-BE49-F238E27FC236}">
                  <a16:creationId xmlns:a16="http://schemas.microsoft.com/office/drawing/2014/main" id="{FB76CA50-8E8E-4FED-AF4C-B57069ADE8E4}"/>
                </a:ext>
              </a:extLst>
            </p:cNvPr>
            <p:cNvSpPr/>
            <p:nvPr/>
          </p:nvSpPr>
          <p:spPr>
            <a:xfrm>
              <a:off x="3215348" y="3293298"/>
              <a:ext cx="638674" cy="894773"/>
            </a:xfrm>
            <a:custGeom>
              <a:avLst/>
              <a:gdLst/>
              <a:ahLst/>
              <a:cxnLst/>
              <a:rect l="l" t="t" r="r" b="b"/>
              <a:pathLst>
                <a:path w="772795" h="1082675">
                  <a:moveTo>
                    <a:pt x="0" y="0"/>
                  </a:moveTo>
                  <a:lnTo>
                    <a:pt x="48863" y="1521"/>
                  </a:lnTo>
                  <a:lnTo>
                    <a:pt x="96919" y="6026"/>
                  </a:lnTo>
                  <a:lnTo>
                    <a:pt x="144077" y="13424"/>
                  </a:lnTo>
                  <a:lnTo>
                    <a:pt x="190246" y="23624"/>
                  </a:lnTo>
                  <a:lnTo>
                    <a:pt x="235337" y="36535"/>
                  </a:lnTo>
                  <a:lnTo>
                    <a:pt x="279258" y="52067"/>
                  </a:lnTo>
                  <a:lnTo>
                    <a:pt x="321919" y="70128"/>
                  </a:lnTo>
                  <a:lnTo>
                    <a:pt x="363229" y="90629"/>
                  </a:lnTo>
                  <a:lnTo>
                    <a:pt x="403098" y="113479"/>
                  </a:lnTo>
                  <a:lnTo>
                    <a:pt x="441436" y="138587"/>
                  </a:lnTo>
                  <a:lnTo>
                    <a:pt x="478151" y="165862"/>
                  </a:lnTo>
                  <a:lnTo>
                    <a:pt x="513154" y="195214"/>
                  </a:lnTo>
                  <a:lnTo>
                    <a:pt x="546354" y="226552"/>
                  </a:lnTo>
                  <a:lnTo>
                    <a:pt x="577659" y="259785"/>
                  </a:lnTo>
                  <a:lnTo>
                    <a:pt x="606981" y="294823"/>
                  </a:lnTo>
                  <a:lnTo>
                    <a:pt x="634228" y="331575"/>
                  </a:lnTo>
                  <a:lnTo>
                    <a:pt x="659309" y="369951"/>
                  </a:lnTo>
                  <a:lnTo>
                    <a:pt x="682135" y="409859"/>
                  </a:lnTo>
                  <a:lnTo>
                    <a:pt x="702614" y="451210"/>
                  </a:lnTo>
                  <a:lnTo>
                    <a:pt x="720657" y="493912"/>
                  </a:lnTo>
                  <a:lnTo>
                    <a:pt x="736172" y="537875"/>
                  </a:lnTo>
                  <a:lnTo>
                    <a:pt x="749069" y="583008"/>
                  </a:lnTo>
                  <a:lnTo>
                    <a:pt x="759257" y="629221"/>
                  </a:lnTo>
                  <a:lnTo>
                    <a:pt x="766647" y="676422"/>
                  </a:lnTo>
                  <a:lnTo>
                    <a:pt x="771147" y="724522"/>
                  </a:lnTo>
                  <a:lnTo>
                    <a:pt x="772668" y="773430"/>
                  </a:lnTo>
                  <a:lnTo>
                    <a:pt x="770853" y="826453"/>
                  </a:lnTo>
                  <a:lnTo>
                    <a:pt x="765433" y="879103"/>
                  </a:lnTo>
                  <a:lnTo>
                    <a:pt x="756443" y="931195"/>
                  </a:lnTo>
                  <a:lnTo>
                    <a:pt x="743918" y="982547"/>
                  </a:lnTo>
                  <a:lnTo>
                    <a:pt x="727894" y="1032974"/>
                  </a:lnTo>
                  <a:lnTo>
                    <a:pt x="708406" y="1082294"/>
                  </a:lnTo>
                </a:path>
              </a:pathLst>
            </a:custGeom>
            <a:ln w="15240">
              <a:solidFill>
                <a:schemeClr val="tx2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08" name="object 40">
              <a:extLst>
                <a:ext uri="{FF2B5EF4-FFF2-40B4-BE49-F238E27FC236}">
                  <a16:creationId xmlns:a16="http://schemas.microsoft.com/office/drawing/2014/main" id="{83599FFD-DE49-40C6-A03E-3FEC6821B67D}"/>
                </a:ext>
              </a:extLst>
            </p:cNvPr>
            <p:cNvSpPr/>
            <p:nvPr/>
          </p:nvSpPr>
          <p:spPr>
            <a:xfrm>
              <a:off x="2748701" y="3466480"/>
              <a:ext cx="934657" cy="934657"/>
            </a:xfrm>
            <a:custGeom>
              <a:avLst/>
              <a:gdLst/>
              <a:ahLst/>
              <a:cxnLst/>
              <a:rect l="l" t="t" r="r" b="b"/>
              <a:pathLst>
                <a:path w="1130935" h="1130935">
                  <a:moveTo>
                    <a:pt x="565403" y="0"/>
                  </a:moveTo>
                  <a:lnTo>
                    <a:pt x="516614" y="2075"/>
                  </a:lnTo>
                  <a:lnTo>
                    <a:pt x="468978" y="8187"/>
                  </a:lnTo>
                  <a:lnTo>
                    <a:pt x="422665" y="18167"/>
                  </a:lnTo>
                  <a:lnTo>
                    <a:pt x="377844" y="31845"/>
                  </a:lnTo>
                  <a:lnTo>
                    <a:pt x="334686" y="49051"/>
                  </a:lnTo>
                  <a:lnTo>
                    <a:pt x="293360" y="69615"/>
                  </a:lnTo>
                  <a:lnTo>
                    <a:pt x="254034" y="93369"/>
                  </a:lnTo>
                  <a:lnTo>
                    <a:pt x="216881" y="120142"/>
                  </a:lnTo>
                  <a:lnTo>
                    <a:pt x="182067" y="149765"/>
                  </a:lnTo>
                  <a:lnTo>
                    <a:pt x="149765" y="182067"/>
                  </a:lnTo>
                  <a:lnTo>
                    <a:pt x="120142" y="216881"/>
                  </a:lnTo>
                  <a:lnTo>
                    <a:pt x="93369" y="254034"/>
                  </a:lnTo>
                  <a:lnTo>
                    <a:pt x="69615" y="293360"/>
                  </a:lnTo>
                  <a:lnTo>
                    <a:pt x="49051" y="334686"/>
                  </a:lnTo>
                  <a:lnTo>
                    <a:pt x="31845" y="377844"/>
                  </a:lnTo>
                  <a:lnTo>
                    <a:pt x="18167" y="422665"/>
                  </a:lnTo>
                  <a:lnTo>
                    <a:pt x="8187" y="468978"/>
                  </a:lnTo>
                  <a:lnTo>
                    <a:pt x="2075" y="516614"/>
                  </a:lnTo>
                  <a:lnTo>
                    <a:pt x="0" y="565404"/>
                  </a:lnTo>
                  <a:lnTo>
                    <a:pt x="2075" y="614193"/>
                  </a:lnTo>
                  <a:lnTo>
                    <a:pt x="8187" y="661829"/>
                  </a:lnTo>
                  <a:lnTo>
                    <a:pt x="18167" y="708142"/>
                  </a:lnTo>
                  <a:lnTo>
                    <a:pt x="31845" y="752963"/>
                  </a:lnTo>
                  <a:lnTo>
                    <a:pt x="49051" y="796121"/>
                  </a:lnTo>
                  <a:lnTo>
                    <a:pt x="69615" y="837447"/>
                  </a:lnTo>
                  <a:lnTo>
                    <a:pt x="93369" y="876773"/>
                  </a:lnTo>
                  <a:lnTo>
                    <a:pt x="120142" y="913926"/>
                  </a:lnTo>
                  <a:lnTo>
                    <a:pt x="149765" y="948740"/>
                  </a:lnTo>
                  <a:lnTo>
                    <a:pt x="182067" y="981042"/>
                  </a:lnTo>
                  <a:lnTo>
                    <a:pt x="216881" y="1010665"/>
                  </a:lnTo>
                  <a:lnTo>
                    <a:pt x="254034" y="1037438"/>
                  </a:lnTo>
                  <a:lnTo>
                    <a:pt x="293360" y="1061192"/>
                  </a:lnTo>
                  <a:lnTo>
                    <a:pt x="334686" y="1081756"/>
                  </a:lnTo>
                  <a:lnTo>
                    <a:pt x="377844" y="1098962"/>
                  </a:lnTo>
                  <a:lnTo>
                    <a:pt x="422665" y="1112640"/>
                  </a:lnTo>
                  <a:lnTo>
                    <a:pt x="468978" y="1122620"/>
                  </a:lnTo>
                  <a:lnTo>
                    <a:pt x="516614" y="1128732"/>
                  </a:lnTo>
                  <a:lnTo>
                    <a:pt x="565403" y="1130808"/>
                  </a:lnTo>
                  <a:lnTo>
                    <a:pt x="614193" y="1128732"/>
                  </a:lnTo>
                  <a:lnTo>
                    <a:pt x="661829" y="1122620"/>
                  </a:lnTo>
                  <a:lnTo>
                    <a:pt x="708142" y="1112640"/>
                  </a:lnTo>
                  <a:lnTo>
                    <a:pt x="752963" y="1098962"/>
                  </a:lnTo>
                  <a:lnTo>
                    <a:pt x="796121" y="1081756"/>
                  </a:lnTo>
                  <a:lnTo>
                    <a:pt x="837447" y="1061192"/>
                  </a:lnTo>
                  <a:lnTo>
                    <a:pt x="876773" y="1037438"/>
                  </a:lnTo>
                  <a:lnTo>
                    <a:pt x="913926" y="1010665"/>
                  </a:lnTo>
                  <a:lnTo>
                    <a:pt x="948740" y="981042"/>
                  </a:lnTo>
                  <a:lnTo>
                    <a:pt x="981042" y="948740"/>
                  </a:lnTo>
                  <a:lnTo>
                    <a:pt x="1010665" y="913926"/>
                  </a:lnTo>
                  <a:lnTo>
                    <a:pt x="1037438" y="876773"/>
                  </a:lnTo>
                  <a:lnTo>
                    <a:pt x="1061192" y="837447"/>
                  </a:lnTo>
                  <a:lnTo>
                    <a:pt x="1081756" y="796121"/>
                  </a:lnTo>
                  <a:lnTo>
                    <a:pt x="1098962" y="752963"/>
                  </a:lnTo>
                  <a:lnTo>
                    <a:pt x="1112640" y="708142"/>
                  </a:lnTo>
                  <a:lnTo>
                    <a:pt x="1122620" y="661829"/>
                  </a:lnTo>
                  <a:lnTo>
                    <a:pt x="1128732" y="614193"/>
                  </a:lnTo>
                  <a:lnTo>
                    <a:pt x="1130807" y="565404"/>
                  </a:lnTo>
                  <a:lnTo>
                    <a:pt x="1128732" y="516614"/>
                  </a:lnTo>
                  <a:lnTo>
                    <a:pt x="1122620" y="468978"/>
                  </a:lnTo>
                  <a:lnTo>
                    <a:pt x="1112640" y="422665"/>
                  </a:lnTo>
                  <a:lnTo>
                    <a:pt x="1098962" y="377844"/>
                  </a:lnTo>
                  <a:lnTo>
                    <a:pt x="1081756" y="334686"/>
                  </a:lnTo>
                  <a:lnTo>
                    <a:pt x="1061192" y="293360"/>
                  </a:lnTo>
                  <a:lnTo>
                    <a:pt x="1037438" y="254034"/>
                  </a:lnTo>
                  <a:lnTo>
                    <a:pt x="1010665" y="216881"/>
                  </a:lnTo>
                  <a:lnTo>
                    <a:pt x="981042" y="182067"/>
                  </a:lnTo>
                  <a:lnTo>
                    <a:pt x="948740" y="149765"/>
                  </a:lnTo>
                  <a:lnTo>
                    <a:pt x="913926" y="120142"/>
                  </a:lnTo>
                  <a:lnTo>
                    <a:pt x="876773" y="93369"/>
                  </a:lnTo>
                  <a:lnTo>
                    <a:pt x="837447" y="69615"/>
                  </a:lnTo>
                  <a:lnTo>
                    <a:pt x="796121" y="49051"/>
                  </a:lnTo>
                  <a:lnTo>
                    <a:pt x="752963" y="31845"/>
                  </a:lnTo>
                  <a:lnTo>
                    <a:pt x="708142" y="18167"/>
                  </a:lnTo>
                  <a:lnTo>
                    <a:pt x="661829" y="8187"/>
                  </a:lnTo>
                  <a:lnTo>
                    <a:pt x="614193" y="2075"/>
                  </a:lnTo>
                  <a:lnTo>
                    <a:pt x="565403" y="0"/>
                  </a:lnTo>
                  <a:close/>
                </a:path>
              </a:pathLst>
            </a:custGeom>
            <a:solidFill>
              <a:srgbClr val="FFFFFF"/>
            </a:solidFill>
            <a:ln>
              <a:solidFill>
                <a:schemeClr val="tx2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09" name="object 41">
              <a:extLst>
                <a:ext uri="{FF2B5EF4-FFF2-40B4-BE49-F238E27FC236}">
                  <a16:creationId xmlns:a16="http://schemas.microsoft.com/office/drawing/2014/main" id="{0AC30CF0-F690-4468-967B-8403F51249B3}"/>
                </a:ext>
              </a:extLst>
            </p:cNvPr>
            <p:cNvSpPr/>
            <p:nvPr/>
          </p:nvSpPr>
          <p:spPr>
            <a:xfrm>
              <a:off x="2748701" y="3466480"/>
              <a:ext cx="934657" cy="934657"/>
            </a:xfrm>
            <a:custGeom>
              <a:avLst/>
              <a:gdLst/>
              <a:ahLst/>
              <a:cxnLst/>
              <a:rect l="l" t="t" r="r" b="b"/>
              <a:pathLst>
                <a:path w="1130935" h="1130935">
                  <a:moveTo>
                    <a:pt x="0" y="565404"/>
                  </a:moveTo>
                  <a:lnTo>
                    <a:pt x="2075" y="516614"/>
                  </a:lnTo>
                  <a:lnTo>
                    <a:pt x="8187" y="468978"/>
                  </a:lnTo>
                  <a:lnTo>
                    <a:pt x="18167" y="422665"/>
                  </a:lnTo>
                  <a:lnTo>
                    <a:pt x="31845" y="377844"/>
                  </a:lnTo>
                  <a:lnTo>
                    <a:pt x="49051" y="334686"/>
                  </a:lnTo>
                  <a:lnTo>
                    <a:pt x="69615" y="293360"/>
                  </a:lnTo>
                  <a:lnTo>
                    <a:pt x="93369" y="254034"/>
                  </a:lnTo>
                  <a:lnTo>
                    <a:pt x="120142" y="216881"/>
                  </a:lnTo>
                  <a:lnTo>
                    <a:pt x="149765" y="182067"/>
                  </a:lnTo>
                  <a:lnTo>
                    <a:pt x="182067" y="149765"/>
                  </a:lnTo>
                  <a:lnTo>
                    <a:pt x="216881" y="120142"/>
                  </a:lnTo>
                  <a:lnTo>
                    <a:pt x="254034" y="93369"/>
                  </a:lnTo>
                  <a:lnTo>
                    <a:pt x="293360" y="69615"/>
                  </a:lnTo>
                  <a:lnTo>
                    <a:pt x="334686" y="49051"/>
                  </a:lnTo>
                  <a:lnTo>
                    <a:pt x="377844" y="31845"/>
                  </a:lnTo>
                  <a:lnTo>
                    <a:pt x="422665" y="18167"/>
                  </a:lnTo>
                  <a:lnTo>
                    <a:pt x="468978" y="8187"/>
                  </a:lnTo>
                  <a:lnTo>
                    <a:pt x="516614" y="2075"/>
                  </a:lnTo>
                  <a:lnTo>
                    <a:pt x="565403" y="0"/>
                  </a:lnTo>
                  <a:lnTo>
                    <a:pt x="614193" y="2075"/>
                  </a:lnTo>
                  <a:lnTo>
                    <a:pt x="661829" y="8187"/>
                  </a:lnTo>
                  <a:lnTo>
                    <a:pt x="708142" y="18167"/>
                  </a:lnTo>
                  <a:lnTo>
                    <a:pt x="752963" y="31845"/>
                  </a:lnTo>
                  <a:lnTo>
                    <a:pt x="796121" y="49051"/>
                  </a:lnTo>
                  <a:lnTo>
                    <a:pt x="837447" y="69615"/>
                  </a:lnTo>
                  <a:lnTo>
                    <a:pt x="876773" y="93369"/>
                  </a:lnTo>
                  <a:lnTo>
                    <a:pt x="913926" y="120142"/>
                  </a:lnTo>
                  <a:lnTo>
                    <a:pt x="948740" y="149765"/>
                  </a:lnTo>
                  <a:lnTo>
                    <a:pt x="981042" y="182067"/>
                  </a:lnTo>
                  <a:lnTo>
                    <a:pt x="1010665" y="216881"/>
                  </a:lnTo>
                  <a:lnTo>
                    <a:pt x="1037438" y="254034"/>
                  </a:lnTo>
                  <a:lnTo>
                    <a:pt x="1061192" y="293360"/>
                  </a:lnTo>
                  <a:lnTo>
                    <a:pt x="1081756" y="334686"/>
                  </a:lnTo>
                  <a:lnTo>
                    <a:pt x="1098962" y="377844"/>
                  </a:lnTo>
                  <a:lnTo>
                    <a:pt x="1112640" y="422665"/>
                  </a:lnTo>
                  <a:lnTo>
                    <a:pt x="1122620" y="468978"/>
                  </a:lnTo>
                  <a:lnTo>
                    <a:pt x="1128732" y="516614"/>
                  </a:lnTo>
                  <a:lnTo>
                    <a:pt x="1130807" y="565404"/>
                  </a:lnTo>
                  <a:lnTo>
                    <a:pt x="1128732" y="614193"/>
                  </a:lnTo>
                  <a:lnTo>
                    <a:pt x="1122620" y="661829"/>
                  </a:lnTo>
                  <a:lnTo>
                    <a:pt x="1112640" y="708142"/>
                  </a:lnTo>
                  <a:lnTo>
                    <a:pt x="1098962" y="752963"/>
                  </a:lnTo>
                  <a:lnTo>
                    <a:pt x="1081756" y="796121"/>
                  </a:lnTo>
                  <a:lnTo>
                    <a:pt x="1061192" y="837447"/>
                  </a:lnTo>
                  <a:lnTo>
                    <a:pt x="1037438" y="876773"/>
                  </a:lnTo>
                  <a:lnTo>
                    <a:pt x="1010665" y="913926"/>
                  </a:lnTo>
                  <a:lnTo>
                    <a:pt x="981042" y="948740"/>
                  </a:lnTo>
                  <a:lnTo>
                    <a:pt x="948740" y="981042"/>
                  </a:lnTo>
                  <a:lnTo>
                    <a:pt x="913926" y="1010665"/>
                  </a:lnTo>
                  <a:lnTo>
                    <a:pt x="876773" y="1037438"/>
                  </a:lnTo>
                  <a:lnTo>
                    <a:pt x="837447" y="1061192"/>
                  </a:lnTo>
                  <a:lnTo>
                    <a:pt x="796121" y="1081756"/>
                  </a:lnTo>
                  <a:lnTo>
                    <a:pt x="752963" y="1098962"/>
                  </a:lnTo>
                  <a:lnTo>
                    <a:pt x="708142" y="1112640"/>
                  </a:lnTo>
                  <a:lnTo>
                    <a:pt x="661829" y="1122620"/>
                  </a:lnTo>
                  <a:lnTo>
                    <a:pt x="614193" y="1128732"/>
                  </a:lnTo>
                  <a:lnTo>
                    <a:pt x="565403" y="1130808"/>
                  </a:lnTo>
                  <a:lnTo>
                    <a:pt x="516614" y="1128732"/>
                  </a:lnTo>
                  <a:lnTo>
                    <a:pt x="468978" y="1122620"/>
                  </a:lnTo>
                  <a:lnTo>
                    <a:pt x="422665" y="1112640"/>
                  </a:lnTo>
                  <a:lnTo>
                    <a:pt x="377844" y="1098962"/>
                  </a:lnTo>
                  <a:lnTo>
                    <a:pt x="334686" y="1081756"/>
                  </a:lnTo>
                  <a:lnTo>
                    <a:pt x="293360" y="1061192"/>
                  </a:lnTo>
                  <a:lnTo>
                    <a:pt x="254034" y="1037438"/>
                  </a:lnTo>
                  <a:lnTo>
                    <a:pt x="216881" y="1010665"/>
                  </a:lnTo>
                  <a:lnTo>
                    <a:pt x="182067" y="981042"/>
                  </a:lnTo>
                  <a:lnTo>
                    <a:pt x="149765" y="948740"/>
                  </a:lnTo>
                  <a:lnTo>
                    <a:pt x="120142" y="913926"/>
                  </a:lnTo>
                  <a:lnTo>
                    <a:pt x="93369" y="876773"/>
                  </a:lnTo>
                  <a:lnTo>
                    <a:pt x="69615" y="837447"/>
                  </a:lnTo>
                  <a:lnTo>
                    <a:pt x="49051" y="796121"/>
                  </a:lnTo>
                  <a:lnTo>
                    <a:pt x="31845" y="752963"/>
                  </a:lnTo>
                  <a:lnTo>
                    <a:pt x="18167" y="708142"/>
                  </a:lnTo>
                  <a:lnTo>
                    <a:pt x="8187" y="661829"/>
                  </a:lnTo>
                  <a:lnTo>
                    <a:pt x="2075" y="614193"/>
                  </a:lnTo>
                  <a:lnTo>
                    <a:pt x="0" y="565404"/>
                  </a:lnTo>
                  <a:close/>
                </a:path>
              </a:pathLst>
            </a:custGeom>
            <a:ln w="15240">
              <a:solidFill>
                <a:schemeClr val="tx2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00" b="0" i="0" u="none" strike="noStrike" kern="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11" name="object 69">
              <a:extLst>
                <a:ext uri="{FF2B5EF4-FFF2-40B4-BE49-F238E27FC236}">
                  <a16:creationId xmlns:a16="http://schemas.microsoft.com/office/drawing/2014/main" id="{31F08C77-7E71-4E35-AFA5-DF73BE1CACB5}"/>
                </a:ext>
              </a:extLst>
            </p:cNvPr>
            <p:cNvSpPr/>
            <p:nvPr/>
          </p:nvSpPr>
          <p:spPr>
            <a:xfrm flipH="1">
              <a:off x="2907162" y="3834924"/>
              <a:ext cx="581679" cy="416122"/>
            </a:xfrm>
            <a:prstGeom prst="rect">
              <a:avLst/>
            </a:prstGeom>
            <a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a:blipFill>
            <a:ln>
              <a:noFill/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5C5C5C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2F24AFC2-E444-469A-9E9D-2565EC418CD0}"/>
                </a:ext>
              </a:extLst>
            </p:cNvPr>
            <p:cNvSpPr txBox="1"/>
            <p:nvPr/>
          </p:nvSpPr>
          <p:spPr>
            <a:xfrm>
              <a:off x="2761036" y="3581025"/>
              <a:ext cx="1282148" cy="22644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 err="1">
                  <a:ln>
                    <a:noFill/>
                  </a:ln>
                  <a:solidFill>
                    <a:srgbClr val="0D347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Fagrekvirent</a:t>
              </a:r>
              <a:endPara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0D347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113" name="object 21">
            <a:extLst>
              <a:ext uri="{FF2B5EF4-FFF2-40B4-BE49-F238E27FC236}">
                <a16:creationId xmlns:a16="http://schemas.microsoft.com/office/drawing/2014/main" id="{C4A58E6D-9266-499D-8300-91C7DDE8E705}"/>
              </a:ext>
            </a:extLst>
          </p:cNvPr>
          <p:cNvSpPr txBox="1"/>
          <p:nvPr/>
        </p:nvSpPr>
        <p:spPr>
          <a:xfrm>
            <a:off x="7506985" y="4473177"/>
            <a:ext cx="1220312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lvl="0" indent="635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-1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Registrerer</a:t>
            </a:r>
            <a:r>
              <a:rPr kumimoji="0" lang="en-US" sz="900" b="0" i="0" u="none" strike="noStrike" kern="1200" cap="none" spc="-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 </a:t>
            </a:r>
            <a:r>
              <a:rPr kumimoji="0" lang="en-US" sz="900" b="0" i="0" u="none" strike="noStrike" kern="1200" cap="none" spc="-1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varemottak</a:t>
            </a:r>
            <a:r>
              <a:rPr kumimoji="0" lang="en-US" sz="900" b="0" i="0" u="none" strike="noStrike" kern="1200" cap="none" spc="-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 </a:t>
            </a:r>
            <a:r>
              <a:rPr kumimoji="0" lang="en-US" sz="900" b="0" i="0" u="none" strike="noStrike" kern="1200" cap="none" spc="-1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i</a:t>
            </a:r>
            <a:r>
              <a:rPr kumimoji="0" lang="en-US" sz="900" b="0" i="0" u="none" strike="noStrike" kern="1200" cap="none" spc="-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Verdana"/>
              </a:rPr>
              <a:t> Unit4 ERP</a:t>
            </a:r>
            <a:endParaRPr kumimoji="0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Verdana"/>
            </a:endParaRPr>
          </a:p>
        </p:txBody>
      </p:sp>
      <p:sp>
        <p:nvSpPr>
          <p:cNvPr id="114" name="object 65">
            <a:extLst>
              <a:ext uri="{FF2B5EF4-FFF2-40B4-BE49-F238E27FC236}">
                <a16:creationId xmlns:a16="http://schemas.microsoft.com/office/drawing/2014/main" id="{957324FB-339C-4249-8644-3655E83BB5C5}"/>
              </a:ext>
            </a:extLst>
          </p:cNvPr>
          <p:cNvSpPr/>
          <p:nvPr/>
        </p:nvSpPr>
        <p:spPr>
          <a:xfrm rot="6143377">
            <a:off x="7785112" y="2869250"/>
            <a:ext cx="871007" cy="79614"/>
          </a:xfrm>
          <a:custGeom>
            <a:avLst/>
            <a:gdLst/>
            <a:ahLst/>
            <a:cxnLst/>
            <a:rect l="l" t="t" r="r" b="b"/>
            <a:pathLst>
              <a:path w="1685289" h="352425">
                <a:moveTo>
                  <a:pt x="1621144" y="306764"/>
                </a:moveTo>
                <a:lnTo>
                  <a:pt x="1602486" y="327913"/>
                </a:lnTo>
                <a:lnTo>
                  <a:pt x="1684782" y="349758"/>
                </a:lnTo>
                <a:lnTo>
                  <a:pt x="1670790" y="315087"/>
                </a:lnTo>
                <a:lnTo>
                  <a:pt x="1631188" y="315087"/>
                </a:lnTo>
                <a:lnTo>
                  <a:pt x="1621144" y="306764"/>
                </a:lnTo>
                <a:close/>
              </a:path>
              <a:path w="1685289" h="352425">
                <a:moveTo>
                  <a:pt x="1633736" y="292491"/>
                </a:moveTo>
                <a:lnTo>
                  <a:pt x="1621144" y="306764"/>
                </a:lnTo>
                <a:lnTo>
                  <a:pt x="1631188" y="315087"/>
                </a:lnTo>
                <a:lnTo>
                  <a:pt x="1643380" y="300482"/>
                </a:lnTo>
                <a:lnTo>
                  <a:pt x="1633736" y="292491"/>
                </a:lnTo>
                <a:close/>
              </a:path>
              <a:path w="1685289" h="352425">
                <a:moveTo>
                  <a:pt x="1652905" y="270763"/>
                </a:moveTo>
                <a:lnTo>
                  <a:pt x="1633736" y="292491"/>
                </a:lnTo>
                <a:lnTo>
                  <a:pt x="1643380" y="300482"/>
                </a:lnTo>
                <a:lnTo>
                  <a:pt x="1631188" y="315087"/>
                </a:lnTo>
                <a:lnTo>
                  <a:pt x="1670790" y="315087"/>
                </a:lnTo>
                <a:lnTo>
                  <a:pt x="1652905" y="270763"/>
                </a:lnTo>
                <a:close/>
              </a:path>
              <a:path w="1685289" h="352425">
                <a:moveTo>
                  <a:pt x="1583689" y="252222"/>
                </a:moveTo>
                <a:lnTo>
                  <a:pt x="1572387" y="267588"/>
                </a:lnTo>
                <a:lnTo>
                  <a:pt x="1585976" y="277622"/>
                </a:lnTo>
                <a:lnTo>
                  <a:pt x="1621144" y="306764"/>
                </a:lnTo>
                <a:lnTo>
                  <a:pt x="1633736" y="292491"/>
                </a:lnTo>
                <a:lnTo>
                  <a:pt x="1598168" y="263017"/>
                </a:lnTo>
                <a:lnTo>
                  <a:pt x="1583689" y="252222"/>
                </a:lnTo>
                <a:close/>
              </a:path>
              <a:path w="1685289" h="352425">
                <a:moveTo>
                  <a:pt x="1472311" y="177292"/>
                </a:moveTo>
                <a:lnTo>
                  <a:pt x="1462532" y="193675"/>
                </a:lnTo>
                <a:lnTo>
                  <a:pt x="1488567" y="209296"/>
                </a:lnTo>
                <a:lnTo>
                  <a:pt x="1526286" y="234442"/>
                </a:lnTo>
                <a:lnTo>
                  <a:pt x="1536954" y="218694"/>
                </a:lnTo>
                <a:lnTo>
                  <a:pt x="1499108" y="193421"/>
                </a:lnTo>
                <a:lnTo>
                  <a:pt x="1472311" y="177292"/>
                </a:lnTo>
                <a:close/>
              </a:path>
              <a:path w="1685289" h="352425">
                <a:moveTo>
                  <a:pt x="1353693" y="114553"/>
                </a:moveTo>
                <a:lnTo>
                  <a:pt x="1345564" y="131825"/>
                </a:lnTo>
                <a:lnTo>
                  <a:pt x="1386586" y="151384"/>
                </a:lnTo>
                <a:lnTo>
                  <a:pt x="1413256" y="165608"/>
                </a:lnTo>
                <a:lnTo>
                  <a:pt x="1422273" y="148844"/>
                </a:lnTo>
                <a:lnTo>
                  <a:pt x="1395602" y="134493"/>
                </a:lnTo>
                <a:lnTo>
                  <a:pt x="1353693" y="114553"/>
                </a:lnTo>
                <a:close/>
              </a:path>
              <a:path w="1685289" h="352425">
                <a:moveTo>
                  <a:pt x="1228725" y="64770"/>
                </a:moveTo>
                <a:lnTo>
                  <a:pt x="1223010" y="82931"/>
                </a:lnTo>
                <a:lnTo>
                  <a:pt x="1226820" y="84200"/>
                </a:lnTo>
                <a:lnTo>
                  <a:pt x="1280922" y="103886"/>
                </a:lnTo>
                <a:lnTo>
                  <a:pt x="1293495" y="109220"/>
                </a:lnTo>
                <a:lnTo>
                  <a:pt x="1300861" y="91694"/>
                </a:lnTo>
                <a:lnTo>
                  <a:pt x="1288288" y="86360"/>
                </a:lnTo>
                <a:lnTo>
                  <a:pt x="1233424" y="66294"/>
                </a:lnTo>
                <a:lnTo>
                  <a:pt x="1228725" y="64770"/>
                </a:lnTo>
                <a:close/>
              </a:path>
              <a:path w="1685289" h="352425">
                <a:moveTo>
                  <a:pt x="1099312" y="29210"/>
                </a:moveTo>
                <a:lnTo>
                  <a:pt x="1095375" y="47751"/>
                </a:lnTo>
                <a:lnTo>
                  <a:pt x="1116965" y="52450"/>
                </a:lnTo>
                <a:lnTo>
                  <a:pt x="1168781" y="66039"/>
                </a:lnTo>
                <a:lnTo>
                  <a:pt x="1173734" y="47625"/>
                </a:lnTo>
                <a:lnTo>
                  <a:pt x="1121918" y="34036"/>
                </a:lnTo>
                <a:lnTo>
                  <a:pt x="1099312" y="29210"/>
                </a:lnTo>
                <a:close/>
              </a:path>
              <a:path w="1685289" h="352425">
                <a:moveTo>
                  <a:pt x="966978" y="7365"/>
                </a:moveTo>
                <a:lnTo>
                  <a:pt x="964692" y="26288"/>
                </a:lnTo>
                <a:lnTo>
                  <a:pt x="1005459" y="31114"/>
                </a:lnTo>
                <a:lnTo>
                  <a:pt x="1039749" y="36957"/>
                </a:lnTo>
                <a:lnTo>
                  <a:pt x="1042797" y="18161"/>
                </a:lnTo>
                <a:lnTo>
                  <a:pt x="1008634" y="12446"/>
                </a:lnTo>
                <a:lnTo>
                  <a:pt x="966978" y="7365"/>
                </a:lnTo>
                <a:close/>
              </a:path>
              <a:path w="1685289" h="352425">
                <a:moveTo>
                  <a:pt x="837057" y="0"/>
                </a:moveTo>
                <a:lnTo>
                  <a:pt x="832612" y="0"/>
                </a:lnTo>
                <a:lnTo>
                  <a:pt x="832993" y="19050"/>
                </a:lnTo>
                <a:lnTo>
                  <a:pt x="836549" y="19050"/>
                </a:lnTo>
                <a:lnTo>
                  <a:pt x="892937" y="20447"/>
                </a:lnTo>
                <a:lnTo>
                  <a:pt x="908177" y="21462"/>
                </a:lnTo>
                <a:lnTo>
                  <a:pt x="909574" y="2539"/>
                </a:lnTo>
                <a:lnTo>
                  <a:pt x="894334" y="1397"/>
                </a:lnTo>
                <a:lnTo>
                  <a:pt x="837057" y="0"/>
                </a:lnTo>
                <a:close/>
              </a:path>
              <a:path w="1685289" h="352425">
                <a:moveTo>
                  <a:pt x="774954" y="1397"/>
                </a:moveTo>
                <a:lnTo>
                  <a:pt x="722884" y="4952"/>
                </a:lnTo>
                <a:lnTo>
                  <a:pt x="698627" y="7747"/>
                </a:lnTo>
                <a:lnTo>
                  <a:pt x="700786" y="26670"/>
                </a:lnTo>
                <a:lnTo>
                  <a:pt x="724281" y="24002"/>
                </a:lnTo>
                <a:lnTo>
                  <a:pt x="776224" y="20447"/>
                </a:lnTo>
                <a:lnTo>
                  <a:pt x="774954" y="1397"/>
                </a:lnTo>
                <a:close/>
              </a:path>
              <a:path w="1685289" h="352425">
                <a:moveTo>
                  <a:pt x="641604" y="15494"/>
                </a:moveTo>
                <a:lnTo>
                  <a:pt x="609854" y="20574"/>
                </a:lnTo>
                <a:lnTo>
                  <a:pt x="566293" y="29845"/>
                </a:lnTo>
                <a:lnTo>
                  <a:pt x="570230" y="48513"/>
                </a:lnTo>
                <a:lnTo>
                  <a:pt x="612902" y="39370"/>
                </a:lnTo>
                <a:lnTo>
                  <a:pt x="644652" y="34289"/>
                </a:lnTo>
                <a:lnTo>
                  <a:pt x="641604" y="15494"/>
                </a:lnTo>
                <a:close/>
              </a:path>
              <a:path w="1685289" h="352425">
                <a:moveTo>
                  <a:pt x="510413" y="43814"/>
                </a:moveTo>
                <a:lnTo>
                  <a:pt x="498602" y="46989"/>
                </a:lnTo>
                <a:lnTo>
                  <a:pt x="443992" y="64135"/>
                </a:lnTo>
                <a:lnTo>
                  <a:pt x="436753" y="66801"/>
                </a:lnTo>
                <a:lnTo>
                  <a:pt x="443357" y="84709"/>
                </a:lnTo>
                <a:lnTo>
                  <a:pt x="449707" y="82296"/>
                </a:lnTo>
                <a:lnTo>
                  <a:pt x="503555" y="65405"/>
                </a:lnTo>
                <a:lnTo>
                  <a:pt x="515239" y="62357"/>
                </a:lnTo>
                <a:lnTo>
                  <a:pt x="510413" y="43814"/>
                </a:lnTo>
                <a:close/>
              </a:path>
              <a:path w="1685289" h="352425">
                <a:moveTo>
                  <a:pt x="382905" y="86995"/>
                </a:moveTo>
                <a:lnTo>
                  <a:pt x="337185" y="106425"/>
                </a:lnTo>
                <a:lnTo>
                  <a:pt x="312928" y="118237"/>
                </a:lnTo>
                <a:lnTo>
                  <a:pt x="321183" y="135382"/>
                </a:lnTo>
                <a:lnTo>
                  <a:pt x="344678" y="123951"/>
                </a:lnTo>
                <a:lnTo>
                  <a:pt x="390398" y="104521"/>
                </a:lnTo>
                <a:lnTo>
                  <a:pt x="382905" y="86995"/>
                </a:lnTo>
                <a:close/>
              </a:path>
              <a:path w="1685289" h="352425">
                <a:moveTo>
                  <a:pt x="261620" y="144525"/>
                </a:moveTo>
                <a:lnTo>
                  <a:pt x="234442" y="159385"/>
                </a:lnTo>
                <a:lnTo>
                  <a:pt x="195580" y="183387"/>
                </a:lnTo>
                <a:lnTo>
                  <a:pt x="205486" y="199517"/>
                </a:lnTo>
                <a:lnTo>
                  <a:pt x="243586" y="176149"/>
                </a:lnTo>
                <a:lnTo>
                  <a:pt x="270764" y="161289"/>
                </a:lnTo>
                <a:lnTo>
                  <a:pt x="261620" y="144525"/>
                </a:lnTo>
                <a:close/>
              </a:path>
              <a:path w="1685289" h="352425">
                <a:moveTo>
                  <a:pt x="147574" y="215392"/>
                </a:moveTo>
                <a:lnTo>
                  <a:pt x="136398" y="223138"/>
                </a:lnTo>
                <a:lnTo>
                  <a:pt x="89408" y="258952"/>
                </a:lnTo>
                <a:lnTo>
                  <a:pt x="85979" y="261747"/>
                </a:lnTo>
                <a:lnTo>
                  <a:pt x="98298" y="276225"/>
                </a:lnTo>
                <a:lnTo>
                  <a:pt x="100837" y="274065"/>
                </a:lnTo>
                <a:lnTo>
                  <a:pt x="147193" y="238760"/>
                </a:lnTo>
                <a:lnTo>
                  <a:pt x="158369" y="231139"/>
                </a:lnTo>
                <a:lnTo>
                  <a:pt x="147574" y="215392"/>
                </a:lnTo>
                <a:close/>
              </a:path>
              <a:path w="1685289" h="352425">
                <a:moveTo>
                  <a:pt x="42037" y="299085"/>
                </a:moveTo>
                <a:lnTo>
                  <a:pt x="0" y="338582"/>
                </a:lnTo>
                <a:lnTo>
                  <a:pt x="13081" y="352425"/>
                </a:lnTo>
                <a:lnTo>
                  <a:pt x="55118" y="313055"/>
                </a:lnTo>
                <a:lnTo>
                  <a:pt x="42037" y="299085"/>
                </a:lnTo>
                <a:close/>
              </a:path>
            </a:pathLst>
          </a:custGeom>
          <a:solidFill>
            <a:srgbClr val="A6A6A6"/>
          </a:solidFill>
          <a:ln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5C5C5C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9974899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713B360-6832-4579-9F39-37C46A2B0E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713B360-6832-4579-9F39-37C46A2B0E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ktangel 7">
            <a:extLst>
              <a:ext uri="{FF2B5EF4-FFF2-40B4-BE49-F238E27FC236}">
                <a16:creationId xmlns:a16="http://schemas.microsoft.com/office/drawing/2014/main" id="{7C8AA404-1545-4DC3-8463-E58A155F88BE}"/>
              </a:ext>
            </a:extLst>
          </p:cNvPr>
          <p:cNvSpPr/>
          <p:nvPr/>
        </p:nvSpPr>
        <p:spPr>
          <a:xfrm>
            <a:off x="460611" y="1735079"/>
            <a:ext cx="1608586" cy="188623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Rektangel 6">
            <a:extLst>
              <a:ext uri="{FF2B5EF4-FFF2-40B4-BE49-F238E27FC236}">
                <a16:creationId xmlns:a16="http://schemas.microsoft.com/office/drawing/2014/main" id="{6D1DD5A1-4DE5-429C-A09D-6777DDAC2252}"/>
              </a:ext>
            </a:extLst>
          </p:cNvPr>
          <p:cNvSpPr/>
          <p:nvPr/>
        </p:nvSpPr>
        <p:spPr>
          <a:xfrm>
            <a:off x="460611" y="1017328"/>
            <a:ext cx="8168132" cy="537328"/>
          </a:xfrm>
          <a:prstGeom prst="rect">
            <a:avLst/>
          </a:prstGeom>
          <a:solidFill>
            <a:schemeClr val="accent1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ålet med rollen </a:t>
            </a:r>
            <a:r>
              <a:rPr kumimoji="0" lang="nb-NO" sz="135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agrevirent </a:t>
            </a:r>
            <a:r>
              <a:rPr kumimoji="0" lang="nb-NO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r å sørge for opprettelse av innkjøpsforespørsler av varer og tjenester innenfor sitt fagområde </a:t>
            </a:r>
          </a:p>
        </p:txBody>
      </p:sp>
      <p:sp>
        <p:nvSpPr>
          <p:cNvPr id="7" name="TekstSylinder 2">
            <a:extLst>
              <a:ext uri="{FF2B5EF4-FFF2-40B4-BE49-F238E27FC236}">
                <a16:creationId xmlns:a16="http://schemas.microsoft.com/office/drawing/2014/main" id="{F8527C33-0580-43A1-869B-461B68DC2AAA}"/>
              </a:ext>
            </a:extLst>
          </p:cNvPr>
          <p:cNvSpPr txBox="1"/>
          <p:nvPr/>
        </p:nvSpPr>
        <p:spPr>
          <a:xfrm>
            <a:off x="2069197" y="1735079"/>
            <a:ext cx="203132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ntrale oppgaver for rollen*</a:t>
            </a:r>
          </a:p>
        </p:txBody>
      </p:sp>
      <p:sp>
        <p:nvSpPr>
          <p:cNvPr id="8" name="Rektangel 19">
            <a:extLst>
              <a:ext uri="{FF2B5EF4-FFF2-40B4-BE49-F238E27FC236}">
                <a16:creationId xmlns:a16="http://schemas.microsoft.com/office/drawing/2014/main" id="{81AF0185-6617-442A-9C9B-48221C870153}"/>
              </a:ext>
            </a:extLst>
          </p:cNvPr>
          <p:cNvSpPr/>
          <p:nvPr/>
        </p:nvSpPr>
        <p:spPr>
          <a:xfrm>
            <a:off x="2157259" y="2033427"/>
            <a:ext cx="4145570" cy="322864"/>
          </a:xfrm>
          <a:prstGeom prst="rect">
            <a:avLst/>
          </a:prstGeom>
          <a:solidFill>
            <a:srgbClr val="B6C8E9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pprette innkjøpsforespørsel basert på innmeldt behov i</a:t>
            </a:r>
          </a:p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it4 ERP</a:t>
            </a:r>
          </a:p>
        </p:txBody>
      </p:sp>
      <p:sp>
        <p:nvSpPr>
          <p:cNvPr id="10" name="Rektangel 19">
            <a:extLst>
              <a:ext uri="{FF2B5EF4-FFF2-40B4-BE49-F238E27FC236}">
                <a16:creationId xmlns:a16="http://schemas.microsoft.com/office/drawing/2014/main" id="{A5B67B4C-07CC-4FC2-B350-46A63A6ACA6D}"/>
              </a:ext>
            </a:extLst>
          </p:cNvPr>
          <p:cNvSpPr/>
          <p:nvPr/>
        </p:nvSpPr>
        <p:spPr>
          <a:xfrm>
            <a:off x="2157259" y="2438082"/>
            <a:ext cx="4145570" cy="339883"/>
          </a:xfrm>
          <a:prstGeom prst="rect">
            <a:avLst/>
          </a:prstGeom>
          <a:solidFill>
            <a:srgbClr val="B6C8E9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marbeide med Anskaffelsesrådgiver for behov lik/over 100.000</a:t>
            </a:r>
          </a:p>
        </p:txBody>
      </p:sp>
      <p:sp>
        <p:nvSpPr>
          <p:cNvPr id="11" name="Rektangel 19">
            <a:extLst>
              <a:ext uri="{FF2B5EF4-FFF2-40B4-BE49-F238E27FC236}">
                <a16:creationId xmlns:a16="http://schemas.microsoft.com/office/drawing/2014/main" id="{D4061D49-3770-4E9E-A5D3-877C04449426}"/>
              </a:ext>
            </a:extLst>
          </p:cNvPr>
          <p:cNvSpPr/>
          <p:nvPr/>
        </p:nvSpPr>
        <p:spPr>
          <a:xfrm>
            <a:off x="2157259" y="2859756"/>
            <a:ext cx="4145570" cy="339883"/>
          </a:xfrm>
          <a:prstGeom prst="rect">
            <a:avLst/>
          </a:prstGeom>
          <a:solidFill>
            <a:srgbClr val="B6C8E9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gistrere varemottak i Unit4 ERP</a:t>
            </a:r>
          </a:p>
        </p:txBody>
      </p:sp>
      <p:sp>
        <p:nvSpPr>
          <p:cNvPr id="12" name="Rektangel 19">
            <a:extLst>
              <a:ext uri="{FF2B5EF4-FFF2-40B4-BE49-F238E27FC236}">
                <a16:creationId xmlns:a16="http://schemas.microsoft.com/office/drawing/2014/main" id="{F4658979-7B79-4F9D-9605-BB77F332F10A}"/>
              </a:ext>
            </a:extLst>
          </p:cNvPr>
          <p:cNvSpPr/>
          <p:nvPr/>
        </p:nvSpPr>
        <p:spPr>
          <a:xfrm>
            <a:off x="2152655" y="3281431"/>
            <a:ext cx="4141076" cy="339883"/>
          </a:xfrm>
          <a:prstGeom prst="rect">
            <a:avLst/>
          </a:prstGeom>
          <a:solidFill>
            <a:srgbClr val="B6C8E9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lde avvik på avtaler innenfor sitt fagområde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755B4A8-2215-478F-864E-8BDAD7E454DC}"/>
              </a:ext>
            </a:extLst>
          </p:cNvPr>
          <p:cNvSpPr txBox="1"/>
          <p:nvPr/>
        </p:nvSpPr>
        <p:spPr>
          <a:xfrm>
            <a:off x="371347" y="3909741"/>
            <a:ext cx="8257396" cy="715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t anbefales at fagrekvirent er en faglig ressurs som kjenner den enkelte arbeidsgruppes (f.eks. forskningsgruppe) virksomhet og behov, samt skal kunne dekke flere enheter innenfor ett fag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ED6677F5-520C-4463-987D-9A62AEC94A32}"/>
              </a:ext>
            </a:extLst>
          </p:cNvPr>
          <p:cNvSpPr txBox="1">
            <a:spLocks/>
          </p:cNvSpPr>
          <p:nvPr/>
        </p:nvSpPr>
        <p:spPr>
          <a:xfrm>
            <a:off x="301385" y="298339"/>
            <a:ext cx="8418747" cy="394051"/>
          </a:xfrm>
          <a:prstGeom prst="rect">
            <a:avLst/>
          </a:prstGeom>
        </p:spPr>
        <p:txBody>
          <a:bodyPr vert="horz" wrap="square" lIns="67500" tIns="35100" rIns="67500" bIns="35100" rtlCol="0" anchor="t" anchorCtr="0">
            <a:spAutoFit/>
          </a:bodyPr>
          <a:lstStyle>
            <a:lvl1pPr algn="l" defTabSz="609585" rtl="0" eaLnBrk="1" latinLnBrk="0" hangingPunct="1">
              <a:spcBef>
                <a:spcPct val="0"/>
              </a:spcBef>
              <a:buNone/>
              <a:defRPr sz="48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Intro til Btb-prosessen: Fagrekvirent</a:t>
            </a:r>
          </a:p>
        </p:txBody>
      </p:sp>
      <p:sp>
        <p:nvSpPr>
          <p:cNvPr id="17" name="Rektangel 7">
            <a:extLst>
              <a:ext uri="{FF2B5EF4-FFF2-40B4-BE49-F238E27FC236}">
                <a16:creationId xmlns:a16="http://schemas.microsoft.com/office/drawing/2014/main" id="{2BE1C12F-E477-4C6D-9542-ECC8442B8901}"/>
              </a:ext>
            </a:extLst>
          </p:cNvPr>
          <p:cNvSpPr/>
          <p:nvPr/>
        </p:nvSpPr>
        <p:spPr>
          <a:xfrm>
            <a:off x="6380618" y="2033428"/>
            <a:ext cx="2248125" cy="15878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8588" marR="0" lvl="0" indent="-128588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ærskilt kunnskap på sitt definerte fagområde </a:t>
            </a:r>
          </a:p>
          <a:p>
            <a:pPr marL="128588" marR="0" lvl="0" indent="-128588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nnskap om avtaleportefølje innenfor sitt område og de varer og tjenester som disse avtalene omfatter </a:t>
            </a:r>
          </a:p>
          <a:p>
            <a:pPr marL="128588" marR="0" lvl="0" indent="-128588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nne opprette innkjøpsforespørsel i UNIT4 ERP</a:t>
            </a:r>
          </a:p>
          <a:p>
            <a:pPr marL="128588" marR="0" lvl="0" indent="-128588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utiner i </a:t>
            </a:r>
            <a:r>
              <a:rPr kumimoji="0" lang="nb-NO" sz="9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tb</a:t>
            </a: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-prosessen</a:t>
            </a:r>
          </a:p>
          <a:p>
            <a:pPr marL="128588" marR="0" lvl="0" indent="-128588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glement for økonomistyring i staten </a:t>
            </a:r>
          </a:p>
        </p:txBody>
      </p:sp>
      <p:sp>
        <p:nvSpPr>
          <p:cNvPr id="18" name="TekstSylinder 2">
            <a:extLst>
              <a:ext uri="{FF2B5EF4-FFF2-40B4-BE49-F238E27FC236}">
                <a16:creationId xmlns:a16="http://schemas.microsoft.com/office/drawing/2014/main" id="{E8A051A5-33D8-463D-AF17-966FB96BFE66}"/>
              </a:ext>
            </a:extLst>
          </p:cNvPr>
          <p:cNvSpPr txBox="1"/>
          <p:nvPr/>
        </p:nvSpPr>
        <p:spPr>
          <a:xfrm>
            <a:off x="6309360" y="1768711"/>
            <a:ext cx="127310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ompetansekrav</a:t>
            </a:r>
          </a:p>
        </p:txBody>
      </p:sp>
      <p:sp>
        <p:nvSpPr>
          <p:cNvPr id="21" name="Rektangel 7">
            <a:extLst>
              <a:ext uri="{FF2B5EF4-FFF2-40B4-BE49-F238E27FC236}">
                <a16:creationId xmlns:a16="http://schemas.microsoft.com/office/drawing/2014/main" id="{34287469-F5F6-4BEB-979D-DA92EA9FBED5}"/>
              </a:ext>
            </a:extLst>
          </p:cNvPr>
          <p:cNvSpPr/>
          <p:nvPr/>
        </p:nvSpPr>
        <p:spPr>
          <a:xfrm>
            <a:off x="609752" y="1898215"/>
            <a:ext cx="1306134" cy="155931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3" name="Picture 22" descr="Icon&#10;&#10;Description automatically generated">
            <a:extLst>
              <a:ext uri="{FF2B5EF4-FFF2-40B4-BE49-F238E27FC236}">
                <a16:creationId xmlns:a16="http://schemas.microsoft.com/office/drawing/2014/main" id="{275D363B-E2AF-4D13-8AA0-88E3597FDE4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5016" y="1869349"/>
            <a:ext cx="1383594" cy="1468937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066D631D-1D7C-4B3D-961F-8AB273F27901}"/>
              </a:ext>
            </a:extLst>
          </p:cNvPr>
          <p:cNvSpPr txBox="1"/>
          <p:nvPr/>
        </p:nvSpPr>
        <p:spPr>
          <a:xfrm>
            <a:off x="5713077" y="4814470"/>
            <a:ext cx="457802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Se fullstendige beskrivelse av oppgaver i rollebeskrivelse </a:t>
            </a:r>
          </a:p>
        </p:txBody>
      </p:sp>
    </p:spTree>
    <p:extLst>
      <p:ext uri="{BB962C8B-B14F-4D97-AF65-F5344CB8AC3E}">
        <p14:creationId xmlns:p14="http://schemas.microsoft.com/office/powerpoint/2010/main" val="309443908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CEFD8C6-33F0-4799-9070-3C965132E5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36864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CEFD8C6-33F0-4799-9070-3C965132E5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82248D7-070E-49A5-89AB-284C661E7B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Samhandling med andre roller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8F30A8B-B620-4B00-BACF-B61BD6F6D122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4061" t="21894" r="3296" b="5509"/>
          <a:stretch/>
        </p:blipFill>
        <p:spPr>
          <a:xfrm>
            <a:off x="148978" y="1030399"/>
            <a:ext cx="8471141" cy="3693319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C672EAAB-A217-4B6F-B2DB-6B5F4B2C94CB}"/>
              </a:ext>
            </a:extLst>
          </p:cNvPr>
          <p:cNvSpPr/>
          <p:nvPr/>
        </p:nvSpPr>
        <p:spPr>
          <a:xfrm>
            <a:off x="7002780" y="3642632"/>
            <a:ext cx="1617339" cy="108108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14300" dist="12700" dir="5400000" rotWithShape="0">
              <a:srgbClr val="000000">
                <a:alpha val="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ABB61FF-734A-491F-AFC8-16F4DBF02E65}"/>
              </a:ext>
            </a:extLst>
          </p:cNvPr>
          <p:cNvSpPr txBox="1"/>
          <p:nvPr/>
        </p:nvSpPr>
        <p:spPr>
          <a:xfrm>
            <a:off x="7051922" y="3833609"/>
            <a:ext cx="1943100" cy="7232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b="1">
                <a:solidFill>
                  <a:srgbClr val="32756D"/>
                </a:solidFill>
              </a:rPr>
              <a:t>Innkjøpergruppe</a:t>
            </a:r>
          </a:p>
          <a:p>
            <a:endParaRPr lang="nb-NO" sz="400" b="1">
              <a:solidFill>
                <a:srgbClr val="32756D"/>
              </a:solidFill>
            </a:endParaRPr>
          </a:p>
          <a:p>
            <a:r>
              <a:rPr lang="nb-NO" sz="800"/>
              <a:t>Sender innkjøpsforespørsel til innkjøpergruppe for kontroll og fullføring</a:t>
            </a:r>
            <a:endParaRPr lang="nb-NO" sz="700"/>
          </a:p>
        </p:txBody>
      </p:sp>
    </p:spTree>
    <p:extLst>
      <p:ext uri="{BB962C8B-B14F-4D97-AF65-F5344CB8AC3E}">
        <p14:creationId xmlns:p14="http://schemas.microsoft.com/office/powerpoint/2010/main" val="292839177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CBA7CD-CB59-4B93-883D-65CBF05ED4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CBA7CD-CB59-4B93-883D-65CBF05ED4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97A77EE-7428-4BA9-B2B1-D73C5881D7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Agenda</a:t>
            </a:r>
          </a:p>
        </p:txBody>
      </p:sp>
      <p:graphicFrame>
        <p:nvGraphicFramePr>
          <p:cNvPr id="4" name="Table 6">
            <a:extLst>
              <a:ext uri="{FF2B5EF4-FFF2-40B4-BE49-F238E27FC236}">
                <a16:creationId xmlns:a16="http://schemas.microsoft.com/office/drawing/2014/main" id="{6BC5C563-D417-42F7-85F7-ECCA2B7AB6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72793825"/>
              </p:ext>
            </p:extLst>
          </p:nvPr>
        </p:nvGraphicFramePr>
        <p:xfrm>
          <a:off x="362626" y="1053530"/>
          <a:ext cx="8418747" cy="3648009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070910">
                  <a:extLst>
                    <a:ext uri="{9D8B030D-6E8A-4147-A177-3AD203B41FA5}">
                      <a16:colId xmlns:a16="http://schemas.microsoft.com/office/drawing/2014/main" val="1601383899"/>
                    </a:ext>
                  </a:extLst>
                </a:gridCol>
                <a:gridCol w="1347837">
                  <a:extLst>
                    <a:ext uri="{9D8B030D-6E8A-4147-A177-3AD203B41FA5}">
                      <a16:colId xmlns:a16="http://schemas.microsoft.com/office/drawing/2014/main" val="694349209"/>
                    </a:ext>
                  </a:extLst>
                </a:gridCol>
              </a:tblGrid>
              <a:tr h="357149">
                <a:tc>
                  <a:txBody>
                    <a:bodyPr/>
                    <a:lstStyle/>
                    <a:p>
                      <a:r>
                        <a:rPr lang="nb-NO" sz="1400" b="1">
                          <a:solidFill>
                            <a:schemeClr val="tx1"/>
                          </a:solidFill>
                        </a:rPr>
                        <a:t>Oppsummering av BOTT E-læring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>
                          <a:solidFill>
                            <a:schemeClr val="tx1"/>
                          </a:solidFill>
                        </a:rPr>
                        <a:t>15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7801232"/>
                  </a:ext>
                </a:extLst>
              </a:tr>
              <a:tr h="414523">
                <a:tc>
                  <a:txBody>
                    <a:bodyPr/>
                    <a:lstStyle/>
                    <a:p>
                      <a:r>
                        <a:rPr lang="nb-NO" sz="1400" b="1" i="0">
                          <a:solidFill>
                            <a:schemeClr val="bg1"/>
                          </a:solidFill>
                        </a:rPr>
                        <a:t>Hovedforskjeller fra dagens løsning</a:t>
                      </a:r>
                      <a:endParaRPr lang="nb-NO" sz="1400" b="0" i="1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01469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i="0">
                          <a:solidFill>
                            <a:schemeClr val="bg1"/>
                          </a:solidFill>
                        </a:rPr>
                        <a:t>15 min</a:t>
                      </a:r>
                    </a:p>
                  </a:txBody>
                  <a:tcPr>
                    <a:solidFill>
                      <a:srgbClr val="0146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878283"/>
                  </a:ext>
                </a:extLst>
              </a:tr>
              <a:tr h="405269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nb-NO" sz="1400" b="1" i="0"/>
                        <a:t>Om ny økonomimodell – hva betyr det for deg som fagrekvirent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i="0"/>
                        <a:t>15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1896127"/>
                  </a:ext>
                </a:extLst>
              </a:tr>
              <a:tr h="416672">
                <a:tc>
                  <a:txBody>
                    <a:bodyPr/>
                    <a:lstStyle/>
                    <a:p>
                      <a:r>
                        <a:rPr lang="nb-NO" sz="1400" b="1" i="0"/>
                        <a:t>Mer om </a:t>
                      </a:r>
                      <a:r>
                        <a:rPr lang="nb-NO" sz="1400" b="1" i="0" err="1"/>
                        <a:t>mva</a:t>
                      </a:r>
                      <a:r>
                        <a:rPr lang="nb-NO" sz="1400" b="1" i="0"/>
                        <a:t> 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i="0"/>
                        <a:t>15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5042368"/>
                  </a:ext>
                </a:extLst>
              </a:tr>
              <a:tr h="416672">
                <a:tc>
                  <a:txBody>
                    <a:bodyPr/>
                    <a:lstStyle/>
                    <a:p>
                      <a:r>
                        <a:rPr lang="nb-NO" sz="1400" b="1" i="0"/>
                        <a:t>Nye begreper / Terminologi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i="0"/>
                        <a:t>  5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311385"/>
                  </a:ext>
                </a:extLst>
              </a:tr>
              <a:tr h="616555">
                <a:tc>
                  <a:txBody>
                    <a:bodyPr/>
                    <a:lstStyle/>
                    <a:p>
                      <a:r>
                        <a:rPr lang="nb-NO" sz="1400" b="1" i="0"/>
                        <a:t>Kort demo av Unit4 ERP – opprette innkjøpsforespørsel og utføre vare-/tjenestemottak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i="0"/>
                        <a:t>20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3655383"/>
                  </a:ext>
                </a:extLst>
              </a:tr>
              <a:tr h="523552">
                <a:tc>
                  <a:txBody>
                    <a:bodyPr/>
                    <a:lstStyle/>
                    <a:p>
                      <a:r>
                        <a:rPr lang="nb-NO" sz="1400" b="1" i="0"/>
                        <a:t>Hva skjer videre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i="0"/>
                        <a:t>  5 mi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32332376"/>
                  </a:ext>
                </a:extLst>
              </a:tr>
              <a:tr h="497617">
                <a:tc>
                  <a:txBody>
                    <a:bodyPr/>
                    <a:lstStyle/>
                    <a:p>
                      <a:r>
                        <a:rPr lang="nb-NO" sz="1400" b="1" i="0"/>
                        <a:t>Spørsmål og svar</a:t>
                      </a:r>
                      <a:endParaRPr lang="nb-NO" sz="1400" b="0" i="1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i="0"/>
                        <a:t>30 mi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990884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7604755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6A313E9-F04F-49A2-B09B-8380EAB67A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447121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6A313E9-F04F-49A2-B09B-8380EAB67A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6DACF3A-9624-4BB9-91F7-390F10A5CE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5" y="298339"/>
            <a:ext cx="8700687" cy="525401"/>
          </a:xfrm>
        </p:spPr>
        <p:txBody>
          <a:bodyPr vert="horz"/>
          <a:lstStyle/>
          <a:p>
            <a:r>
              <a:rPr lang="nb-NO" sz="2800"/>
              <a:t>Hovedforskjeller: Registrere innkjøpsforespørsel</a:t>
            </a:r>
          </a:p>
        </p:txBody>
      </p:sp>
      <p:sp>
        <p:nvSpPr>
          <p:cNvPr id="13" name="Rektangel 7">
            <a:extLst>
              <a:ext uri="{FF2B5EF4-FFF2-40B4-BE49-F238E27FC236}">
                <a16:creationId xmlns:a16="http://schemas.microsoft.com/office/drawing/2014/main" id="{3A815C49-A948-4978-9A49-C6BC506A3EC1}"/>
              </a:ext>
            </a:extLst>
          </p:cNvPr>
          <p:cNvSpPr/>
          <p:nvPr/>
        </p:nvSpPr>
        <p:spPr>
          <a:xfrm>
            <a:off x="1054762" y="1109633"/>
            <a:ext cx="7520901" cy="56751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b-NO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1100">
                <a:solidFill>
                  <a:schemeClr val="tx1"/>
                </a:solidFill>
              </a:rPr>
              <a:t>Innkjøpsforespørsel sendes ikke direkte til innkjøper, men følger </a:t>
            </a:r>
            <a:r>
              <a:rPr lang="nb-NO" sz="1100" b="1">
                <a:solidFill>
                  <a:schemeClr val="tx2"/>
                </a:solidFill>
              </a:rPr>
              <a:t>automatisk flyt basert på k-sted til innkjøpergruppe</a:t>
            </a:r>
          </a:p>
        </p:txBody>
      </p:sp>
      <p:sp>
        <p:nvSpPr>
          <p:cNvPr id="14" name="Rektangel 24">
            <a:extLst>
              <a:ext uri="{FF2B5EF4-FFF2-40B4-BE49-F238E27FC236}">
                <a16:creationId xmlns:a16="http://schemas.microsoft.com/office/drawing/2014/main" id="{E2E9A47A-430A-473E-8C91-56E7D86E3646}"/>
              </a:ext>
            </a:extLst>
          </p:cNvPr>
          <p:cNvSpPr/>
          <p:nvPr/>
        </p:nvSpPr>
        <p:spPr>
          <a:xfrm>
            <a:off x="410295" y="1114650"/>
            <a:ext cx="545584" cy="56751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b-NO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640B25E3-DF68-4F56-A6A8-D850B55CD41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84769" y="1205432"/>
            <a:ext cx="396697" cy="395531"/>
            <a:chOff x="5042" y="3019"/>
            <a:chExt cx="341" cy="340"/>
          </a:xfrm>
          <a:solidFill>
            <a:schemeClr val="accent2"/>
          </a:solidFill>
        </p:grpSpPr>
        <p:sp>
          <p:nvSpPr>
            <p:cNvPr id="16" name="Freeform 829">
              <a:extLst>
                <a:ext uri="{FF2B5EF4-FFF2-40B4-BE49-F238E27FC236}">
                  <a16:creationId xmlns:a16="http://schemas.microsoft.com/office/drawing/2014/main" id="{3479A89D-7E84-4A50-B240-35519E9D36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26" y="3139"/>
              <a:ext cx="72" cy="156"/>
            </a:xfrm>
            <a:custGeom>
              <a:avLst/>
              <a:gdLst>
                <a:gd name="T0" fmla="*/ 74 w 107"/>
                <a:gd name="T1" fmla="*/ 8 h 235"/>
                <a:gd name="T2" fmla="*/ 64 w 107"/>
                <a:gd name="T3" fmla="*/ 0 h 235"/>
                <a:gd name="T4" fmla="*/ 43 w 107"/>
                <a:gd name="T5" fmla="*/ 0 h 235"/>
                <a:gd name="T6" fmla="*/ 32 w 107"/>
                <a:gd name="T7" fmla="*/ 8 h 235"/>
                <a:gd name="T8" fmla="*/ 0 w 107"/>
                <a:gd name="T9" fmla="*/ 136 h 235"/>
                <a:gd name="T10" fmla="*/ 2 w 107"/>
                <a:gd name="T11" fmla="*/ 145 h 235"/>
                <a:gd name="T12" fmla="*/ 11 w 107"/>
                <a:gd name="T13" fmla="*/ 149 h 235"/>
                <a:gd name="T14" fmla="*/ 21 w 107"/>
                <a:gd name="T15" fmla="*/ 149 h 235"/>
                <a:gd name="T16" fmla="*/ 21 w 107"/>
                <a:gd name="T17" fmla="*/ 224 h 235"/>
                <a:gd name="T18" fmla="*/ 32 w 107"/>
                <a:gd name="T19" fmla="*/ 235 h 235"/>
                <a:gd name="T20" fmla="*/ 43 w 107"/>
                <a:gd name="T21" fmla="*/ 224 h 235"/>
                <a:gd name="T22" fmla="*/ 43 w 107"/>
                <a:gd name="T23" fmla="*/ 149 h 235"/>
                <a:gd name="T24" fmla="*/ 64 w 107"/>
                <a:gd name="T25" fmla="*/ 149 h 235"/>
                <a:gd name="T26" fmla="*/ 64 w 107"/>
                <a:gd name="T27" fmla="*/ 224 h 235"/>
                <a:gd name="T28" fmla="*/ 75 w 107"/>
                <a:gd name="T29" fmla="*/ 235 h 235"/>
                <a:gd name="T30" fmla="*/ 85 w 107"/>
                <a:gd name="T31" fmla="*/ 224 h 235"/>
                <a:gd name="T32" fmla="*/ 85 w 107"/>
                <a:gd name="T33" fmla="*/ 149 h 235"/>
                <a:gd name="T34" fmla="*/ 96 w 107"/>
                <a:gd name="T35" fmla="*/ 149 h 235"/>
                <a:gd name="T36" fmla="*/ 104 w 107"/>
                <a:gd name="T37" fmla="*/ 145 h 235"/>
                <a:gd name="T38" fmla="*/ 106 w 107"/>
                <a:gd name="T39" fmla="*/ 136 h 235"/>
                <a:gd name="T40" fmla="*/ 74 w 107"/>
                <a:gd name="T41" fmla="*/ 8 h 235"/>
                <a:gd name="T42" fmla="*/ 51 w 107"/>
                <a:gd name="T43" fmla="*/ 21 h 235"/>
                <a:gd name="T44" fmla="*/ 56 w 107"/>
                <a:gd name="T45" fmla="*/ 21 h 235"/>
                <a:gd name="T46" fmla="*/ 82 w 107"/>
                <a:gd name="T47" fmla="*/ 128 h 235"/>
                <a:gd name="T48" fmla="*/ 24 w 107"/>
                <a:gd name="T49" fmla="*/ 128 h 235"/>
                <a:gd name="T50" fmla="*/ 51 w 107"/>
                <a:gd name="T51" fmla="*/ 21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7" h="235">
                  <a:moveTo>
                    <a:pt x="74" y="8"/>
                  </a:moveTo>
                  <a:cubicBezTo>
                    <a:pt x="73" y="3"/>
                    <a:pt x="69" y="0"/>
                    <a:pt x="64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38" y="0"/>
                    <a:pt x="34" y="3"/>
                    <a:pt x="32" y="8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39"/>
                    <a:pt x="0" y="143"/>
                    <a:pt x="2" y="145"/>
                  </a:cubicBezTo>
                  <a:cubicBezTo>
                    <a:pt x="4" y="148"/>
                    <a:pt x="7" y="149"/>
                    <a:pt x="11" y="149"/>
                  </a:cubicBezTo>
                  <a:cubicBezTo>
                    <a:pt x="21" y="149"/>
                    <a:pt x="21" y="149"/>
                    <a:pt x="21" y="149"/>
                  </a:cubicBezTo>
                  <a:cubicBezTo>
                    <a:pt x="21" y="224"/>
                    <a:pt x="21" y="224"/>
                    <a:pt x="21" y="224"/>
                  </a:cubicBezTo>
                  <a:cubicBezTo>
                    <a:pt x="21" y="230"/>
                    <a:pt x="26" y="235"/>
                    <a:pt x="32" y="235"/>
                  </a:cubicBezTo>
                  <a:cubicBezTo>
                    <a:pt x="38" y="235"/>
                    <a:pt x="43" y="230"/>
                    <a:pt x="43" y="224"/>
                  </a:cubicBezTo>
                  <a:cubicBezTo>
                    <a:pt x="43" y="149"/>
                    <a:pt x="43" y="149"/>
                    <a:pt x="43" y="149"/>
                  </a:cubicBezTo>
                  <a:cubicBezTo>
                    <a:pt x="64" y="149"/>
                    <a:pt x="64" y="149"/>
                    <a:pt x="64" y="149"/>
                  </a:cubicBezTo>
                  <a:cubicBezTo>
                    <a:pt x="64" y="224"/>
                    <a:pt x="64" y="224"/>
                    <a:pt x="64" y="224"/>
                  </a:cubicBezTo>
                  <a:cubicBezTo>
                    <a:pt x="64" y="230"/>
                    <a:pt x="69" y="235"/>
                    <a:pt x="75" y="235"/>
                  </a:cubicBezTo>
                  <a:cubicBezTo>
                    <a:pt x="81" y="235"/>
                    <a:pt x="85" y="230"/>
                    <a:pt x="85" y="224"/>
                  </a:cubicBezTo>
                  <a:cubicBezTo>
                    <a:pt x="85" y="149"/>
                    <a:pt x="85" y="149"/>
                    <a:pt x="85" y="149"/>
                  </a:cubicBezTo>
                  <a:cubicBezTo>
                    <a:pt x="96" y="149"/>
                    <a:pt x="96" y="149"/>
                    <a:pt x="96" y="149"/>
                  </a:cubicBezTo>
                  <a:cubicBezTo>
                    <a:pt x="99" y="149"/>
                    <a:pt x="102" y="148"/>
                    <a:pt x="104" y="145"/>
                  </a:cubicBezTo>
                  <a:cubicBezTo>
                    <a:pt x="106" y="143"/>
                    <a:pt x="107" y="139"/>
                    <a:pt x="106" y="136"/>
                  </a:cubicBezTo>
                  <a:lnTo>
                    <a:pt x="74" y="8"/>
                  </a:lnTo>
                  <a:close/>
                  <a:moveTo>
                    <a:pt x="51" y="21"/>
                  </a:moveTo>
                  <a:cubicBezTo>
                    <a:pt x="56" y="21"/>
                    <a:pt x="56" y="21"/>
                    <a:pt x="56" y="21"/>
                  </a:cubicBezTo>
                  <a:cubicBezTo>
                    <a:pt x="82" y="128"/>
                    <a:pt x="82" y="128"/>
                    <a:pt x="82" y="128"/>
                  </a:cubicBezTo>
                  <a:cubicBezTo>
                    <a:pt x="24" y="128"/>
                    <a:pt x="24" y="128"/>
                    <a:pt x="24" y="128"/>
                  </a:cubicBezTo>
                  <a:lnTo>
                    <a:pt x="51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xmlns:mc="http://schemas.openxmlformats.org/markup-compatibility/2006" xmlns:p14="http://schemas.microsoft.com/office/powerpoint/2010/main" xmlns:lc="http://schemas.openxmlformats.org/drawingml/2006/lockedCanvas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>
              <a:defPPr>
                <a:defRPr lang="nb-NO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" name="Freeform 830">
              <a:extLst>
                <a:ext uri="{FF2B5EF4-FFF2-40B4-BE49-F238E27FC236}">
                  <a16:creationId xmlns:a16="http://schemas.microsoft.com/office/drawing/2014/main" id="{48EBE319-DF7C-418B-ADDE-32423F28F7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40" y="3083"/>
              <a:ext cx="43" cy="42"/>
            </a:xfrm>
            <a:custGeom>
              <a:avLst/>
              <a:gdLst>
                <a:gd name="T0" fmla="*/ 32 w 64"/>
                <a:gd name="T1" fmla="*/ 64 h 64"/>
                <a:gd name="T2" fmla="*/ 64 w 64"/>
                <a:gd name="T3" fmla="*/ 32 h 64"/>
                <a:gd name="T4" fmla="*/ 32 w 64"/>
                <a:gd name="T5" fmla="*/ 0 h 64"/>
                <a:gd name="T6" fmla="*/ 0 w 64"/>
                <a:gd name="T7" fmla="*/ 32 h 64"/>
                <a:gd name="T8" fmla="*/ 32 w 64"/>
                <a:gd name="T9" fmla="*/ 64 h 64"/>
                <a:gd name="T10" fmla="*/ 32 w 64"/>
                <a:gd name="T11" fmla="*/ 21 h 64"/>
                <a:gd name="T12" fmla="*/ 43 w 64"/>
                <a:gd name="T13" fmla="*/ 32 h 64"/>
                <a:gd name="T14" fmla="*/ 32 w 64"/>
                <a:gd name="T15" fmla="*/ 42 h 64"/>
                <a:gd name="T16" fmla="*/ 22 w 64"/>
                <a:gd name="T17" fmla="*/ 32 h 64"/>
                <a:gd name="T18" fmla="*/ 32 w 64"/>
                <a:gd name="T19" fmla="*/ 2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32" y="64"/>
                  </a:moveTo>
                  <a:cubicBezTo>
                    <a:pt x="50" y="64"/>
                    <a:pt x="64" y="49"/>
                    <a:pt x="64" y="32"/>
                  </a:cubicBezTo>
                  <a:cubicBezTo>
                    <a:pt x="64" y="14"/>
                    <a:pt x="50" y="0"/>
                    <a:pt x="32" y="0"/>
                  </a:cubicBezTo>
                  <a:cubicBezTo>
                    <a:pt x="15" y="0"/>
                    <a:pt x="0" y="14"/>
                    <a:pt x="0" y="32"/>
                  </a:cubicBezTo>
                  <a:cubicBezTo>
                    <a:pt x="0" y="49"/>
                    <a:pt x="15" y="64"/>
                    <a:pt x="32" y="64"/>
                  </a:cubicBezTo>
                  <a:close/>
                  <a:moveTo>
                    <a:pt x="32" y="21"/>
                  </a:moveTo>
                  <a:cubicBezTo>
                    <a:pt x="38" y="21"/>
                    <a:pt x="43" y="26"/>
                    <a:pt x="43" y="32"/>
                  </a:cubicBezTo>
                  <a:cubicBezTo>
                    <a:pt x="43" y="38"/>
                    <a:pt x="38" y="42"/>
                    <a:pt x="32" y="42"/>
                  </a:cubicBezTo>
                  <a:cubicBezTo>
                    <a:pt x="26" y="42"/>
                    <a:pt x="22" y="38"/>
                    <a:pt x="22" y="32"/>
                  </a:cubicBezTo>
                  <a:cubicBezTo>
                    <a:pt x="22" y="26"/>
                    <a:pt x="26" y="21"/>
                    <a:pt x="32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xmlns:mc="http://schemas.openxmlformats.org/markup-compatibility/2006" xmlns:p14="http://schemas.microsoft.com/office/powerpoint/2010/main" xmlns:lc="http://schemas.openxmlformats.org/drawingml/2006/lockedCanvas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>
              <a:defPPr>
                <a:defRPr lang="nb-NO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" name="Freeform 831">
              <a:extLst>
                <a:ext uri="{FF2B5EF4-FFF2-40B4-BE49-F238E27FC236}">
                  <a16:creationId xmlns:a16="http://schemas.microsoft.com/office/drawing/2014/main" id="{BAC99FEE-B8FF-4525-979C-0F64933553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27" y="3139"/>
              <a:ext cx="71" cy="156"/>
            </a:xfrm>
            <a:custGeom>
              <a:avLst/>
              <a:gdLst>
                <a:gd name="T0" fmla="*/ 96 w 106"/>
                <a:gd name="T1" fmla="*/ 0 h 235"/>
                <a:gd name="T2" fmla="*/ 10 w 106"/>
                <a:gd name="T3" fmla="*/ 0 h 235"/>
                <a:gd name="T4" fmla="*/ 0 w 106"/>
                <a:gd name="T5" fmla="*/ 11 h 235"/>
                <a:gd name="T6" fmla="*/ 0 w 106"/>
                <a:gd name="T7" fmla="*/ 117 h 235"/>
                <a:gd name="T8" fmla="*/ 10 w 106"/>
                <a:gd name="T9" fmla="*/ 128 h 235"/>
                <a:gd name="T10" fmla="*/ 21 w 106"/>
                <a:gd name="T11" fmla="*/ 128 h 235"/>
                <a:gd name="T12" fmla="*/ 21 w 106"/>
                <a:gd name="T13" fmla="*/ 224 h 235"/>
                <a:gd name="T14" fmla="*/ 32 w 106"/>
                <a:gd name="T15" fmla="*/ 235 h 235"/>
                <a:gd name="T16" fmla="*/ 42 w 106"/>
                <a:gd name="T17" fmla="*/ 224 h 235"/>
                <a:gd name="T18" fmla="*/ 42 w 106"/>
                <a:gd name="T19" fmla="*/ 128 h 235"/>
                <a:gd name="T20" fmla="*/ 64 w 106"/>
                <a:gd name="T21" fmla="*/ 128 h 235"/>
                <a:gd name="T22" fmla="*/ 64 w 106"/>
                <a:gd name="T23" fmla="*/ 224 h 235"/>
                <a:gd name="T24" fmla="*/ 74 w 106"/>
                <a:gd name="T25" fmla="*/ 235 h 235"/>
                <a:gd name="T26" fmla="*/ 85 w 106"/>
                <a:gd name="T27" fmla="*/ 224 h 235"/>
                <a:gd name="T28" fmla="*/ 85 w 106"/>
                <a:gd name="T29" fmla="*/ 128 h 235"/>
                <a:gd name="T30" fmla="*/ 96 w 106"/>
                <a:gd name="T31" fmla="*/ 128 h 235"/>
                <a:gd name="T32" fmla="*/ 106 w 106"/>
                <a:gd name="T33" fmla="*/ 117 h 235"/>
                <a:gd name="T34" fmla="*/ 106 w 106"/>
                <a:gd name="T35" fmla="*/ 11 h 235"/>
                <a:gd name="T36" fmla="*/ 96 w 106"/>
                <a:gd name="T37" fmla="*/ 0 h 235"/>
                <a:gd name="T38" fmla="*/ 85 w 106"/>
                <a:gd name="T39" fmla="*/ 107 h 235"/>
                <a:gd name="T40" fmla="*/ 21 w 106"/>
                <a:gd name="T41" fmla="*/ 107 h 235"/>
                <a:gd name="T42" fmla="*/ 21 w 106"/>
                <a:gd name="T43" fmla="*/ 21 h 235"/>
                <a:gd name="T44" fmla="*/ 85 w 106"/>
                <a:gd name="T45" fmla="*/ 21 h 235"/>
                <a:gd name="T46" fmla="*/ 85 w 106"/>
                <a:gd name="T47" fmla="*/ 107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6" h="235">
                  <a:moveTo>
                    <a:pt x="96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0" y="123"/>
                    <a:pt x="4" y="128"/>
                    <a:pt x="10" y="128"/>
                  </a:cubicBezTo>
                  <a:cubicBezTo>
                    <a:pt x="21" y="128"/>
                    <a:pt x="21" y="128"/>
                    <a:pt x="21" y="128"/>
                  </a:cubicBezTo>
                  <a:cubicBezTo>
                    <a:pt x="21" y="224"/>
                    <a:pt x="21" y="224"/>
                    <a:pt x="21" y="224"/>
                  </a:cubicBezTo>
                  <a:cubicBezTo>
                    <a:pt x="21" y="230"/>
                    <a:pt x="26" y="235"/>
                    <a:pt x="32" y="235"/>
                  </a:cubicBezTo>
                  <a:cubicBezTo>
                    <a:pt x="38" y="235"/>
                    <a:pt x="42" y="230"/>
                    <a:pt x="42" y="224"/>
                  </a:cubicBezTo>
                  <a:cubicBezTo>
                    <a:pt x="42" y="128"/>
                    <a:pt x="42" y="128"/>
                    <a:pt x="42" y="128"/>
                  </a:cubicBezTo>
                  <a:cubicBezTo>
                    <a:pt x="64" y="128"/>
                    <a:pt x="64" y="128"/>
                    <a:pt x="64" y="128"/>
                  </a:cubicBezTo>
                  <a:cubicBezTo>
                    <a:pt x="64" y="224"/>
                    <a:pt x="64" y="224"/>
                    <a:pt x="64" y="224"/>
                  </a:cubicBezTo>
                  <a:cubicBezTo>
                    <a:pt x="64" y="230"/>
                    <a:pt x="68" y="235"/>
                    <a:pt x="74" y="235"/>
                  </a:cubicBezTo>
                  <a:cubicBezTo>
                    <a:pt x="80" y="235"/>
                    <a:pt x="85" y="230"/>
                    <a:pt x="85" y="224"/>
                  </a:cubicBezTo>
                  <a:cubicBezTo>
                    <a:pt x="85" y="128"/>
                    <a:pt x="85" y="128"/>
                    <a:pt x="85" y="128"/>
                  </a:cubicBezTo>
                  <a:cubicBezTo>
                    <a:pt x="96" y="128"/>
                    <a:pt x="96" y="128"/>
                    <a:pt x="96" y="128"/>
                  </a:cubicBezTo>
                  <a:cubicBezTo>
                    <a:pt x="102" y="128"/>
                    <a:pt x="106" y="123"/>
                    <a:pt x="106" y="117"/>
                  </a:cubicBezTo>
                  <a:cubicBezTo>
                    <a:pt x="106" y="11"/>
                    <a:pt x="106" y="11"/>
                    <a:pt x="106" y="11"/>
                  </a:cubicBezTo>
                  <a:cubicBezTo>
                    <a:pt x="106" y="5"/>
                    <a:pt x="102" y="0"/>
                    <a:pt x="96" y="0"/>
                  </a:cubicBezTo>
                  <a:close/>
                  <a:moveTo>
                    <a:pt x="85" y="107"/>
                  </a:moveTo>
                  <a:cubicBezTo>
                    <a:pt x="21" y="107"/>
                    <a:pt x="21" y="107"/>
                    <a:pt x="21" y="107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85" y="21"/>
                    <a:pt x="85" y="21"/>
                    <a:pt x="85" y="21"/>
                  </a:cubicBezTo>
                  <a:lnTo>
                    <a:pt x="85" y="1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xmlns:mc="http://schemas.openxmlformats.org/markup-compatibility/2006" xmlns:p14="http://schemas.microsoft.com/office/powerpoint/2010/main" xmlns:lc="http://schemas.openxmlformats.org/drawingml/2006/lockedCanvas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>
              <a:defPPr>
                <a:defRPr lang="nb-NO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" name="Freeform 832">
              <a:extLst>
                <a:ext uri="{FF2B5EF4-FFF2-40B4-BE49-F238E27FC236}">
                  <a16:creationId xmlns:a16="http://schemas.microsoft.com/office/drawing/2014/main" id="{4E9A7457-C003-456C-AA41-92D2FA0355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41" y="3083"/>
              <a:ext cx="43" cy="42"/>
            </a:xfrm>
            <a:custGeom>
              <a:avLst/>
              <a:gdLst>
                <a:gd name="T0" fmla="*/ 32 w 64"/>
                <a:gd name="T1" fmla="*/ 64 h 64"/>
                <a:gd name="T2" fmla="*/ 64 w 64"/>
                <a:gd name="T3" fmla="*/ 32 h 64"/>
                <a:gd name="T4" fmla="*/ 32 w 64"/>
                <a:gd name="T5" fmla="*/ 0 h 64"/>
                <a:gd name="T6" fmla="*/ 0 w 64"/>
                <a:gd name="T7" fmla="*/ 32 h 64"/>
                <a:gd name="T8" fmla="*/ 32 w 64"/>
                <a:gd name="T9" fmla="*/ 64 h 64"/>
                <a:gd name="T10" fmla="*/ 32 w 64"/>
                <a:gd name="T11" fmla="*/ 21 h 64"/>
                <a:gd name="T12" fmla="*/ 43 w 64"/>
                <a:gd name="T13" fmla="*/ 32 h 64"/>
                <a:gd name="T14" fmla="*/ 32 w 64"/>
                <a:gd name="T15" fmla="*/ 42 h 64"/>
                <a:gd name="T16" fmla="*/ 21 w 64"/>
                <a:gd name="T17" fmla="*/ 32 h 64"/>
                <a:gd name="T18" fmla="*/ 32 w 64"/>
                <a:gd name="T19" fmla="*/ 2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32" y="64"/>
                  </a:moveTo>
                  <a:cubicBezTo>
                    <a:pt x="50" y="64"/>
                    <a:pt x="64" y="49"/>
                    <a:pt x="64" y="32"/>
                  </a:cubicBezTo>
                  <a:cubicBezTo>
                    <a:pt x="64" y="14"/>
                    <a:pt x="50" y="0"/>
                    <a:pt x="32" y="0"/>
                  </a:cubicBezTo>
                  <a:cubicBezTo>
                    <a:pt x="14" y="0"/>
                    <a:pt x="0" y="14"/>
                    <a:pt x="0" y="32"/>
                  </a:cubicBezTo>
                  <a:cubicBezTo>
                    <a:pt x="0" y="49"/>
                    <a:pt x="14" y="64"/>
                    <a:pt x="32" y="64"/>
                  </a:cubicBezTo>
                  <a:close/>
                  <a:moveTo>
                    <a:pt x="32" y="21"/>
                  </a:moveTo>
                  <a:cubicBezTo>
                    <a:pt x="38" y="21"/>
                    <a:pt x="43" y="26"/>
                    <a:pt x="43" y="32"/>
                  </a:cubicBezTo>
                  <a:cubicBezTo>
                    <a:pt x="43" y="38"/>
                    <a:pt x="38" y="42"/>
                    <a:pt x="32" y="42"/>
                  </a:cubicBezTo>
                  <a:cubicBezTo>
                    <a:pt x="26" y="42"/>
                    <a:pt x="21" y="38"/>
                    <a:pt x="21" y="32"/>
                  </a:cubicBezTo>
                  <a:cubicBezTo>
                    <a:pt x="21" y="26"/>
                    <a:pt x="26" y="21"/>
                    <a:pt x="32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xmlns:mc="http://schemas.openxmlformats.org/markup-compatibility/2006" xmlns:p14="http://schemas.microsoft.com/office/powerpoint/2010/main" xmlns:lc="http://schemas.openxmlformats.org/drawingml/2006/lockedCanvas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>
              <a:defPPr>
                <a:defRPr lang="nb-NO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" name="Freeform 833">
              <a:extLst>
                <a:ext uri="{FF2B5EF4-FFF2-40B4-BE49-F238E27FC236}">
                  <a16:creationId xmlns:a16="http://schemas.microsoft.com/office/drawing/2014/main" id="{FBE0667F-FEE8-4AC8-A3F5-673C1B2CB9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42" y="3019"/>
              <a:ext cx="341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256 w 512"/>
                <a:gd name="T11" fmla="*/ 490 h 512"/>
                <a:gd name="T12" fmla="*/ 21 w 512"/>
                <a:gd name="T13" fmla="*/ 256 h 512"/>
                <a:gd name="T14" fmla="*/ 256 w 512"/>
                <a:gd name="T15" fmla="*/ 21 h 512"/>
                <a:gd name="T16" fmla="*/ 490 w 512"/>
                <a:gd name="T17" fmla="*/ 256 h 512"/>
                <a:gd name="T18" fmla="*/ 256 w 512"/>
                <a:gd name="T19" fmla="*/ 49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256" y="490"/>
                  </a:move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xmlns:mc="http://schemas.openxmlformats.org/markup-compatibility/2006" xmlns:p14="http://schemas.microsoft.com/office/powerpoint/2010/main" xmlns:lc="http://schemas.openxmlformats.org/drawingml/2006/lockedCanvas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>
              <a:defPPr>
                <a:defRPr lang="nb-NO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21" name="Rektangel 7">
            <a:extLst>
              <a:ext uri="{FF2B5EF4-FFF2-40B4-BE49-F238E27FC236}">
                <a16:creationId xmlns:a16="http://schemas.microsoft.com/office/drawing/2014/main" id="{D0E16615-BF0B-464E-BF5F-31863CC7FBFE}"/>
              </a:ext>
            </a:extLst>
          </p:cNvPr>
          <p:cNvSpPr/>
          <p:nvPr/>
        </p:nvSpPr>
        <p:spPr>
          <a:xfrm>
            <a:off x="1039477" y="1784452"/>
            <a:ext cx="7520900" cy="121751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nb-NO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1100" b="1">
                <a:solidFill>
                  <a:schemeClr val="tx2"/>
                </a:solidFill>
              </a:rPr>
              <a:t>Ny funksjonalitet innenfor en rekke områder: 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100">
                <a:solidFill>
                  <a:schemeClr val="tx1"/>
                </a:solidFill>
              </a:rPr>
              <a:t>Mulig å knytte innkjøpsforespørsel mot en avtale</a:t>
            </a:r>
            <a:endParaRPr lang="nb-NO" sz="1100">
              <a:solidFill>
                <a:schemeClr val="tx1"/>
              </a:solidFill>
              <a:cs typeface="Arial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100">
                <a:solidFill>
                  <a:schemeClr val="tx1"/>
                </a:solidFill>
              </a:rPr>
              <a:t>Enklere å gjøre plankjøp – mer rom for at flere kjøp kan gjøres direkte fra plan</a:t>
            </a:r>
            <a:endParaRPr lang="nb-NO" sz="1100">
              <a:solidFill>
                <a:schemeClr val="tx1"/>
              </a:solidFill>
              <a:cs typeface="Arial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100">
                <a:solidFill>
                  <a:schemeClr val="tx1"/>
                </a:solidFill>
              </a:rPr>
              <a:t>Kan oppgi annen </a:t>
            </a:r>
            <a:r>
              <a:rPr lang="nb-NO" sz="1100" err="1">
                <a:solidFill>
                  <a:schemeClr val="tx1"/>
                </a:solidFill>
              </a:rPr>
              <a:t>varemottaker</a:t>
            </a:r>
            <a:r>
              <a:rPr lang="nb-NO" sz="1100">
                <a:solidFill>
                  <a:schemeClr val="tx1"/>
                </a:solidFill>
              </a:rPr>
              <a:t> (enn den som opprette forespørsel) på innkjøpsforespørselen</a:t>
            </a:r>
            <a:endParaRPr lang="nb-NO" sz="1100">
              <a:solidFill>
                <a:schemeClr val="tx1"/>
              </a:solidFill>
              <a:cs typeface="Arial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100">
                <a:solidFill>
                  <a:schemeClr val="tx1"/>
                </a:solidFill>
              </a:rPr>
              <a:t>Mulighet for å periodisere </a:t>
            </a:r>
            <a:r>
              <a:rPr lang="nb-NO" sz="1100" err="1">
                <a:solidFill>
                  <a:schemeClr val="tx1"/>
                </a:solidFill>
              </a:rPr>
              <a:t>innkjøpsforepørsel</a:t>
            </a:r>
            <a:endParaRPr lang="nb-NO" sz="1100">
              <a:solidFill>
                <a:schemeClr val="tx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100">
                <a:solidFill>
                  <a:schemeClr val="tx1"/>
                </a:solidFill>
              </a:rPr>
              <a:t>Mulig å legge inn tekst til hovedbok på innkjøpsforespørsel</a:t>
            </a:r>
            <a:endParaRPr lang="nb-NO" sz="1100">
              <a:solidFill>
                <a:schemeClr val="tx1"/>
              </a:solidFill>
              <a:cs typeface="Arial"/>
            </a:endParaRPr>
          </a:p>
        </p:txBody>
      </p:sp>
      <p:sp>
        <p:nvSpPr>
          <p:cNvPr id="22" name="Rektangel 24">
            <a:extLst>
              <a:ext uri="{FF2B5EF4-FFF2-40B4-BE49-F238E27FC236}">
                <a16:creationId xmlns:a16="http://schemas.microsoft.com/office/drawing/2014/main" id="{A31905A7-4353-4850-A871-198B73584ECC}"/>
              </a:ext>
            </a:extLst>
          </p:cNvPr>
          <p:cNvSpPr/>
          <p:nvPr/>
        </p:nvSpPr>
        <p:spPr>
          <a:xfrm>
            <a:off x="410295" y="1797521"/>
            <a:ext cx="545584" cy="120445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b-NO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Rektangel 7">
            <a:extLst>
              <a:ext uri="{FF2B5EF4-FFF2-40B4-BE49-F238E27FC236}">
                <a16:creationId xmlns:a16="http://schemas.microsoft.com/office/drawing/2014/main" id="{41E9B151-E721-48E4-84D7-6443808EC903}"/>
              </a:ext>
            </a:extLst>
          </p:cNvPr>
          <p:cNvSpPr/>
          <p:nvPr/>
        </p:nvSpPr>
        <p:spPr>
          <a:xfrm>
            <a:off x="1054762" y="3103910"/>
            <a:ext cx="7520901" cy="56751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b-NO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1100" b="1">
                <a:solidFill>
                  <a:schemeClr val="tx2"/>
                </a:solidFill>
              </a:rPr>
              <a:t>Endret matchelogikk fra sum til linjematch </a:t>
            </a:r>
            <a:r>
              <a:rPr lang="nb-NO" sz="1100">
                <a:solidFill>
                  <a:schemeClr val="tx1"/>
                </a:solidFill>
              </a:rPr>
              <a:t>– god og korrekt input helt avgjørende for god output. </a:t>
            </a:r>
          </a:p>
          <a:p>
            <a:r>
              <a:rPr lang="nb-NO" sz="1100" b="1">
                <a:solidFill>
                  <a:schemeClr val="tx2"/>
                </a:solidFill>
              </a:rPr>
              <a:t>Betyr: </a:t>
            </a:r>
            <a:r>
              <a:rPr lang="nb-NO" sz="1100">
                <a:solidFill>
                  <a:schemeClr val="tx1"/>
                </a:solidFill>
              </a:rPr>
              <a:t>Viktigere enn tidligere å ha et bevisst forhold til kontering, eks bruk av </a:t>
            </a:r>
            <a:r>
              <a:rPr lang="nb-NO" sz="1100" err="1">
                <a:solidFill>
                  <a:schemeClr val="tx1"/>
                </a:solidFill>
              </a:rPr>
              <a:t>mva</a:t>
            </a:r>
            <a:r>
              <a:rPr lang="nb-NO" sz="1100">
                <a:solidFill>
                  <a:schemeClr val="tx1"/>
                </a:solidFill>
              </a:rPr>
              <a:t>-koder</a:t>
            </a:r>
            <a:endParaRPr lang="nb-NO" sz="1100">
              <a:solidFill>
                <a:schemeClr val="tx2"/>
              </a:solidFill>
            </a:endParaRPr>
          </a:p>
        </p:txBody>
      </p:sp>
      <p:sp>
        <p:nvSpPr>
          <p:cNvPr id="26" name="Rektangel 24">
            <a:extLst>
              <a:ext uri="{FF2B5EF4-FFF2-40B4-BE49-F238E27FC236}">
                <a16:creationId xmlns:a16="http://schemas.microsoft.com/office/drawing/2014/main" id="{B98A0BFA-C405-4204-A609-2A8D08CFB051}"/>
              </a:ext>
            </a:extLst>
          </p:cNvPr>
          <p:cNvSpPr/>
          <p:nvPr/>
        </p:nvSpPr>
        <p:spPr>
          <a:xfrm>
            <a:off x="410295" y="3108927"/>
            <a:ext cx="545584" cy="56751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b-NO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Rektangel 7">
            <a:extLst>
              <a:ext uri="{FF2B5EF4-FFF2-40B4-BE49-F238E27FC236}">
                <a16:creationId xmlns:a16="http://schemas.microsoft.com/office/drawing/2014/main" id="{32415137-CE73-42D7-8992-21FDCCC29E97}"/>
              </a:ext>
            </a:extLst>
          </p:cNvPr>
          <p:cNvSpPr/>
          <p:nvPr/>
        </p:nvSpPr>
        <p:spPr>
          <a:xfrm>
            <a:off x="1054762" y="3773368"/>
            <a:ext cx="7520901" cy="56751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b-NO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1100" b="1">
                <a:solidFill>
                  <a:schemeClr val="tx2"/>
                </a:solidFill>
              </a:rPr>
              <a:t>Økt funksjonalitet </a:t>
            </a:r>
            <a:r>
              <a:rPr lang="nb-NO" sz="1100">
                <a:solidFill>
                  <a:schemeClr val="tx1"/>
                </a:solidFill>
              </a:rPr>
              <a:t>gjør at det er </a:t>
            </a:r>
            <a:r>
              <a:rPr lang="nb-NO" sz="1100" b="1">
                <a:solidFill>
                  <a:schemeClr val="tx2"/>
                </a:solidFill>
              </a:rPr>
              <a:t>flere felter å forholde seg til </a:t>
            </a:r>
            <a:r>
              <a:rPr lang="nb-NO" sz="1100">
                <a:solidFill>
                  <a:schemeClr val="tx1"/>
                </a:solidFill>
              </a:rPr>
              <a:t>og for noen kanskje mer klikking mellom vinduer enn det man er vant til </a:t>
            </a:r>
          </a:p>
        </p:txBody>
      </p:sp>
      <p:sp>
        <p:nvSpPr>
          <p:cNvPr id="30" name="Rektangel 24">
            <a:extLst>
              <a:ext uri="{FF2B5EF4-FFF2-40B4-BE49-F238E27FC236}">
                <a16:creationId xmlns:a16="http://schemas.microsoft.com/office/drawing/2014/main" id="{5785522D-EE48-4A66-B8D8-2CFF2D9062F0}"/>
              </a:ext>
            </a:extLst>
          </p:cNvPr>
          <p:cNvSpPr/>
          <p:nvPr/>
        </p:nvSpPr>
        <p:spPr>
          <a:xfrm>
            <a:off x="410295" y="3778385"/>
            <a:ext cx="545584" cy="56751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b-NO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23" name="Group 39">
            <a:extLst>
              <a:ext uri="{FF2B5EF4-FFF2-40B4-BE49-F238E27FC236}">
                <a16:creationId xmlns:a16="http://schemas.microsoft.com/office/drawing/2014/main" id="{E55F31BD-9747-4E51-96F0-6060C3CBD75E}"/>
              </a:ext>
            </a:extLst>
          </p:cNvPr>
          <p:cNvGrpSpPr>
            <a:grpSpLocks/>
          </p:cNvGrpSpPr>
          <p:nvPr/>
        </p:nvGrpSpPr>
        <p:grpSpPr bwMode="auto">
          <a:xfrm>
            <a:off x="484769" y="2201746"/>
            <a:ext cx="396000" cy="396000"/>
            <a:chOff x="3987" y="1509"/>
            <a:chExt cx="340" cy="340"/>
          </a:xfrm>
          <a:solidFill>
            <a:schemeClr val="tx2"/>
          </a:solidFill>
        </p:grpSpPr>
        <p:sp>
          <p:nvSpPr>
            <p:cNvPr id="24" name="Freeform 40">
              <a:extLst>
                <a:ext uri="{FF2B5EF4-FFF2-40B4-BE49-F238E27FC236}">
                  <a16:creationId xmlns:a16="http://schemas.microsoft.com/office/drawing/2014/main" id="{3C0FE68C-E2CD-4F2E-9C76-99EA888456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7" y="1509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xmlns:mc="http://schemas.openxmlformats.org/markup-compatibility/2006" xmlns:p14="http://schemas.microsoft.com/office/powerpoint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96"/>
            </a:p>
          </p:txBody>
        </p:sp>
        <p:sp>
          <p:nvSpPr>
            <p:cNvPr id="27" name="Freeform 41">
              <a:extLst>
                <a:ext uri="{FF2B5EF4-FFF2-40B4-BE49-F238E27FC236}">
                  <a16:creationId xmlns:a16="http://schemas.microsoft.com/office/drawing/2014/main" id="{D25A7180-D676-4C1C-A81E-42F92C939C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53" y="1568"/>
              <a:ext cx="215" cy="214"/>
            </a:xfrm>
            <a:custGeom>
              <a:avLst/>
              <a:gdLst>
                <a:gd name="T0" fmla="*/ 168 w 324"/>
                <a:gd name="T1" fmla="*/ 177 h 322"/>
                <a:gd name="T2" fmla="*/ 123 w 324"/>
                <a:gd name="T3" fmla="*/ 143 h 322"/>
                <a:gd name="T4" fmla="*/ 65 w 324"/>
                <a:gd name="T5" fmla="*/ 142 h 322"/>
                <a:gd name="T6" fmla="*/ 18 w 324"/>
                <a:gd name="T7" fmla="*/ 175 h 322"/>
                <a:gd name="T8" fmla="*/ 0 w 324"/>
                <a:gd name="T9" fmla="*/ 229 h 322"/>
                <a:gd name="T10" fmla="*/ 17 w 324"/>
                <a:gd name="T11" fmla="*/ 284 h 322"/>
                <a:gd name="T12" fmla="*/ 63 w 324"/>
                <a:gd name="T13" fmla="*/ 319 h 322"/>
                <a:gd name="T14" fmla="*/ 115 w 324"/>
                <a:gd name="T15" fmla="*/ 320 h 322"/>
                <a:gd name="T16" fmla="*/ 145 w 324"/>
                <a:gd name="T17" fmla="*/ 294 h 322"/>
                <a:gd name="T18" fmla="*/ 172 w 324"/>
                <a:gd name="T19" fmla="*/ 252 h 322"/>
                <a:gd name="T20" fmla="*/ 146 w 324"/>
                <a:gd name="T21" fmla="*/ 249 h 322"/>
                <a:gd name="T22" fmla="*/ 125 w 324"/>
                <a:gd name="T23" fmla="*/ 277 h 322"/>
                <a:gd name="T24" fmla="*/ 92 w 324"/>
                <a:gd name="T25" fmla="*/ 284 h 322"/>
                <a:gd name="T26" fmla="*/ 69 w 324"/>
                <a:gd name="T27" fmla="*/ 293 h 322"/>
                <a:gd name="T28" fmla="*/ 37 w 324"/>
                <a:gd name="T29" fmla="*/ 267 h 322"/>
                <a:gd name="T30" fmla="*/ 26 w 324"/>
                <a:gd name="T31" fmla="*/ 227 h 322"/>
                <a:gd name="T32" fmla="*/ 41 w 324"/>
                <a:gd name="T33" fmla="*/ 189 h 322"/>
                <a:gd name="T34" fmla="*/ 76 w 324"/>
                <a:gd name="T35" fmla="*/ 168 h 322"/>
                <a:gd name="T36" fmla="*/ 115 w 324"/>
                <a:gd name="T37" fmla="*/ 164 h 322"/>
                <a:gd name="T38" fmla="*/ 150 w 324"/>
                <a:gd name="T39" fmla="*/ 190 h 322"/>
                <a:gd name="T40" fmla="*/ 163 w 324"/>
                <a:gd name="T41" fmla="*/ 232 h 322"/>
                <a:gd name="T42" fmla="*/ 61 w 324"/>
                <a:gd name="T43" fmla="*/ 214 h 322"/>
                <a:gd name="T44" fmla="*/ 103 w 324"/>
                <a:gd name="T45" fmla="*/ 265 h 322"/>
                <a:gd name="T46" fmla="*/ 105 w 324"/>
                <a:gd name="T47" fmla="*/ 237 h 322"/>
                <a:gd name="T48" fmla="*/ 80 w 324"/>
                <a:gd name="T49" fmla="*/ 224 h 322"/>
                <a:gd name="T50" fmla="*/ 106 w 324"/>
                <a:gd name="T51" fmla="*/ 226 h 322"/>
                <a:gd name="T52" fmla="*/ 308 w 324"/>
                <a:gd name="T53" fmla="*/ 62 h 322"/>
                <a:gd name="T54" fmla="*/ 276 w 324"/>
                <a:gd name="T55" fmla="*/ 23 h 322"/>
                <a:gd name="T56" fmla="*/ 227 w 324"/>
                <a:gd name="T57" fmla="*/ 10 h 322"/>
                <a:gd name="T58" fmla="*/ 180 w 324"/>
                <a:gd name="T59" fmla="*/ 29 h 322"/>
                <a:gd name="T60" fmla="*/ 152 w 324"/>
                <a:gd name="T61" fmla="*/ 71 h 322"/>
                <a:gd name="T62" fmla="*/ 155 w 324"/>
                <a:gd name="T63" fmla="*/ 122 h 322"/>
                <a:gd name="T64" fmla="*/ 187 w 324"/>
                <a:gd name="T65" fmla="*/ 161 h 322"/>
                <a:gd name="T66" fmla="*/ 236 w 324"/>
                <a:gd name="T67" fmla="*/ 174 h 322"/>
                <a:gd name="T68" fmla="*/ 276 w 324"/>
                <a:gd name="T69" fmla="*/ 156 h 322"/>
                <a:gd name="T70" fmla="*/ 305 w 324"/>
                <a:gd name="T71" fmla="*/ 117 h 322"/>
                <a:gd name="T72" fmla="*/ 298 w 324"/>
                <a:gd name="T73" fmla="*/ 96 h 322"/>
                <a:gd name="T74" fmla="*/ 283 w 324"/>
                <a:gd name="T75" fmla="*/ 134 h 322"/>
                <a:gd name="T76" fmla="*/ 248 w 324"/>
                <a:gd name="T77" fmla="*/ 155 h 322"/>
                <a:gd name="T78" fmla="*/ 209 w 324"/>
                <a:gd name="T79" fmla="*/ 158 h 322"/>
                <a:gd name="T80" fmla="*/ 174 w 324"/>
                <a:gd name="T81" fmla="*/ 132 h 322"/>
                <a:gd name="T82" fmla="*/ 161 w 324"/>
                <a:gd name="T83" fmla="*/ 91 h 322"/>
                <a:gd name="T84" fmla="*/ 175 w 324"/>
                <a:gd name="T85" fmla="*/ 50 h 322"/>
                <a:gd name="T86" fmla="*/ 211 w 324"/>
                <a:gd name="T87" fmla="*/ 26 h 322"/>
                <a:gd name="T88" fmla="*/ 250 w 324"/>
                <a:gd name="T89" fmla="*/ 30 h 322"/>
                <a:gd name="T90" fmla="*/ 284 w 324"/>
                <a:gd name="T91" fmla="*/ 51 h 322"/>
                <a:gd name="T92" fmla="*/ 298 w 324"/>
                <a:gd name="T93" fmla="*/ 90 h 322"/>
                <a:gd name="T94" fmla="*/ 221 w 324"/>
                <a:gd name="T95" fmla="*/ 58 h 322"/>
                <a:gd name="T96" fmla="*/ 231 w 324"/>
                <a:gd name="T97" fmla="*/ 128 h 322"/>
                <a:gd name="T98" fmla="*/ 248 w 324"/>
                <a:gd name="T99" fmla="*/ 61 h 322"/>
                <a:gd name="T100" fmla="*/ 218 w 324"/>
                <a:gd name="T101" fmla="*/ 96 h 322"/>
                <a:gd name="T102" fmla="*/ 238 w 324"/>
                <a:gd name="T103" fmla="*/ 79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24" h="322">
                  <a:moveTo>
                    <a:pt x="172" y="212"/>
                  </a:moveTo>
                  <a:cubicBezTo>
                    <a:pt x="171" y="211"/>
                    <a:pt x="168" y="209"/>
                    <a:pt x="167" y="208"/>
                  </a:cubicBezTo>
                  <a:cubicBezTo>
                    <a:pt x="167" y="206"/>
                    <a:pt x="168" y="203"/>
                    <a:pt x="169" y="201"/>
                  </a:cubicBezTo>
                  <a:cubicBezTo>
                    <a:pt x="171" y="194"/>
                    <a:pt x="174" y="185"/>
                    <a:pt x="168" y="177"/>
                  </a:cubicBezTo>
                  <a:cubicBezTo>
                    <a:pt x="163" y="169"/>
                    <a:pt x="153" y="169"/>
                    <a:pt x="146" y="169"/>
                  </a:cubicBezTo>
                  <a:cubicBezTo>
                    <a:pt x="144" y="169"/>
                    <a:pt x="141" y="168"/>
                    <a:pt x="139" y="168"/>
                  </a:cubicBezTo>
                  <a:cubicBezTo>
                    <a:pt x="139" y="167"/>
                    <a:pt x="138" y="164"/>
                    <a:pt x="137" y="162"/>
                  </a:cubicBezTo>
                  <a:cubicBezTo>
                    <a:pt x="135" y="155"/>
                    <a:pt x="132" y="146"/>
                    <a:pt x="123" y="143"/>
                  </a:cubicBezTo>
                  <a:cubicBezTo>
                    <a:pt x="114" y="140"/>
                    <a:pt x="105" y="145"/>
                    <a:pt x="100" y="149"/>
                  </a:cubicBezTo>
                  <a:cubicBezTo>
                    <a:pt x="98" y="150"/>
                    <a:pt x="95" y="152"/>
                    <a:pt x="94" y="153"/>
                  </a:cubicBezTo>
                  <a:cubicBezTo>
                    <a:pt x="92" y="152"/>
                    <a:pt x="90" y="150"/>
                    <a:pt x="88" y="149"/>
                  </a:cubicBezTo>
                  <a:cubicBezTo>
                    <a:pt x="83" y="145"/>
                    <a:pt x="74" y="139"/>
                    <a:pt x="65" y="142"/>
                  </a:cubicBezTo>
                  <a:cubicBezTo>
                    <a:pt x="56" y="145"/>
                    <a:pt x="53" y="154"/>
                    <a:pt x="50" y="161"/>
                  </a:cubicBezTo>
                  <a:cubicBezTo>
                    <a:pt x="49" y="163"/>
                    <a:pt x="48" y="166"/>
                    <a:pt x="48" y="167"/>
                  </a:cubicBezTo>
                  <a:cubicBezTo>
                    <a:pt x="46" y="167"/>
                    <a:pt x="43" y="167"/>
                    <a:pt x="41" y="167"/>
                  </a:cubicBezTo>
                  <a:cubicBezTo>
                    <a:pt x="34" y="167"/>
                    <a:pt x="24" y="168"/>
                    <a:pt x="18" y="175"/>
                  </a:cubicBezTo>
                  <a:cubicBezTo>
                    <a:pt x="13" y="183"/>
                    <a:pt x="15" y="192"/>
                    <a:pt x="17" y="199"/>
                  </a:cubicBezTo>
                  <a:cubicBezTo>
                    <a:pt x="18" y="201"/>
                    <a:pt x="19" y="204"/>
                    <a:pt x="19" y="206"/>
                  </a:cubicBezTo>
                  <a:cubicBezTo>
                    <a:pt x="18" y="207"/>
                    <a:pt x="15" y="209"/>
                    <a:pt x="14" y="210"/>
                  </a:cubicBezTo>
                  <a:cubicBezTo>
                    <a:pt x="8" y="214"/>
                    <a:pt x="0" y="220"/>
                    <a:pt x="0" y="229"/>
                  </a:cubicBezTo>
                  <a:cubicBezTo>
                    <a:pt x="0" y="239"/>
                    <a:pt x="7" y="245"/>
                    <a:pt x="13" y="249"/>
                  </a:cubicBezTo>
                  <a:cubicBezTo>
                    <a:pt x="15" y="251"/>
                    <a:pt x="18" y="253"/>
                    <a:pt x="18" y="253"/>
                  </a:cubicBezTo>
                  <a:cubicBezTo>
                    <a:pt x="18" y="255"/>
                    <a:pt x="17" y="258"/>
                    <a:pt x="16" y="261"/>
                  </a:cubicBezTo>
                  <a:cubicBezTo>
                    <a:pt x="14" y="268"/>
                    <a:pt x="11" y="277"/>
                    <a:pt x="17" y="284"/>
                  </a:cubicBezTo>
                  <a:cubicBezTo>
                    <a:pt x="22" y="292"/>
                    <a:pt x="32" y="292"/>
                    <a:pt x="39" y="293"/>
                  </a:cubicBezTo>
                  <a:cubicBezTo>
                    <a:pt x="41" y="293"/>
                    <a:pt x="44" y="293"/>
                    <a:pt x="46" y="293"/>
                  </a:cubicBezTo>
                  <a:cubicBezTo>
                    <a:pt x="47" y="295"/>
                    <a:pt x="48" y="298"/>
                    <a:pt x="48" y="299"/>
                  </a:cubicBezTo>
                  <a:cubicBezTo>
                    <a:pt x="51" y="306"/>
                    <a:pt x="54" y="315"/>
                    <a:pt x="63" y="319"/>
                  </a:cubicBezTo>
                  <a:cubicBezTo>
                    <a:pt x="72" y="322"/>
                    <a:pt x="80" y="316"/>
                    <a:pt x="86" y="312"/>
                  </a:cubicBezTo>
                  <a:cubicBezTo>
                    <a:pt x="87" y="311"/>
                    <a:pt x="90" y="309"/>
                    <a:pt x="92" y="309"/>
                  </a:cubicBezTo>
                  <a:cubicBezTo>
                    <a:pt x="93" y="309"/>
                    <a:pt x="95" y="311"/>
                    <a:pt x="97" y="312"/>
                  </a:cubicBezTo>
                  <a:cubicBezTo>
                    <a:pt x="102" y="316"/>
                    <a:pt x="108" y="320"/>
                    <a:pt x="115" y="320"/>
                  </a:cubicBezTo>
                  <a:cubicBezTo>
                    <a:pt x="117" y="320"/>
                    <a:pt x="118" y="320"/>
                    <a:pt x="120" y="319"/>
                  </a:cubicBezTo>
                  <a:cubicBezTo>
                    <a:pt x="129" y="316"/>
                    <a:pt x="133" y="307"/>
                    <a:pt x="135" y="300"/>
                  </a:cubicBezTo>
                  <a:cubicBezTo>
                    <a:pt x="136" y="298"/>
                    <a:pt x="137" y="296"/>
                    <a:pt x="138" y="294"/>
                  </a:cubicBezTo>
                  <a:cubicBezTo>
                    <a:pt x="139" y="294"/>
                    <a:pt x="142" y="294"/>
                    <a:pt x="145" y="294"/>
                  </a:cubicBezTo>
                  <a:cubicBezTo>
                    <a:pt x="152" y="294"/>
                    <a:pt x="161" y="294"/>
                    <a:pt x="167" y="286"/>
                  </a:cubicBezTo>
                  <a:cubicBezTo>
                    <a:pt x="173" y="279"/>
                    <a:pt x="170" y="269"/>
                    <a:pt x="168" y="262"/>
                  </a:cubicBezTo>
                  <a:cubicBezTo>
                    <a:pt x="168" y="260"/>
                    <a:pt x="167" y="257"/>
                    <a:pt x="167" y="256"/>
                  </a:cubicBezTo>
                  <a:cubicBezTo>
                    <a:pt x="168" y="255"/>
                    <a:pt x="170" y="253"/>
                    <a:pt x="172" y="252"/>
                  </a:cubicBezTo>
                  <a:cubicBezTo>
                    <a:pt x="177" y="247"/>
                    <a:pt x="185" y="242"/>
                    <a:pt x="185" y="232"/>
                  </a:cubicBezTo>
                  <a:cubicBezTo>
                    <a:pt x="186" y="223"/>
                    <a:pt x="178" y="217"/>
                    <a:pt x="172" y="212"/>
                  </a:cubicBezTo>
                  <a:close/>
                  <a:moveTo>
                    <a:pt x="159" y="235"/>
                  </a:moveTo>
                  <a:cubicBezTo>
                    <a:pt x="154" y="238"/>
                    <a:pt x="148" y="242"/>
                    <a:pt x="146" y="249"/>
                  </a:cubicBezTo>
                  <a:cubicBezTo>
                    <a:pt x="144" y="255"/>
                    <a:pt x="146" y="262"/>
                    <a:pt x="148" y="268"/>
                  </a:cubicBezTo>
                  <a:cubicBezTo>
                    <a:pt x="148" y="269"/>
                    <a:pt x="148" y="271"/>
                    <a:pt x="149" y="272"/>
                  </a:cubicBezTo>
                  <a:cubicBezTo>
                    <a:pt x="147" y="273"/>
                    <a:pt x="145" y="273"/>
                    <a:pt x="144" y="273"/>
                  </a:cubicBezTo>
                  <a:cubicBezTo>
                    <a:pt x="138" y="273"/>
                    <a:pt x="131" y="273"/>
                    <a:pt x="125" y="277"/>
                  </a:cubicBezTo>
                  <a:cubicBezTo>
                    <a:pt x="120" y="281"/>
                    <a:pt x="117" y="287"/>
                    <a:pt x="115" y="293"/>
                  </a:cubicBezTo>
                  <a:cubicBezTo>
                    <a:pt x="115" y="294"/>
                    <a:pt x="114" y="295"/>
                    <a:pt x="113" y="297"/>
                  </a:cubicBezTo>
                  <a:cubicBezTo>
                    <a:pt x="112" y="296"/>
                    <a:pt x="110" y="294"/>
                    <a:pt x="109" y="293"/>
                  </a:cubicBezTo>
                  <a:cubicBezTo>
                    <a:pt x="104" y="290"/>
                    <a:pt x="99" y="284"/>
                    <a:pt x="92" y="284"/>
                  </a:cubicBezTo>
                  <a:cubicBezTo>
                    <a:pt x="92" y="284"/>
                    <a:pt x="92" y="284"/>
                    <a:pt x="92" y="284"/>
                  </a:cubicBezTo>
                  <a:cubicBezTo>
                    <a:pt x="85" y="284"/>
                    <a:pt x="79" y="289"/>
                    <a:pt x="74" y="293"/>
                  </a:cubicBezTo>
                  <a:cubicBezTo>
                    <a:pt x="73" y="294"/>
                    <a:pt x="71" y="296"/>
                    <a:pt x="70" y="297"/>
                  </a:cubicBezTo>
                  <a:cubicBezTo>
                    <a:pt x="70" y="296"/>
                    <a:pt x="69" y="294"/>
                    <a:pt x="69" y="293"/>
                  </a:cubicBezTo>
                  <a:cubicBezTo>
                    <a:pt x="67" y="287"/>
                    <a:pt x="64" y="280"/>
                    <a:pt x="59" y="276"/>
                  </a:cubicBezTo>
                  <a:cubicBezTo>
                    <a:pt x="53" y="272"/>
                    <a:pt x="46" y="272"/>
                    <a:pt x="40" y="271"/>
                  </a:cubicBezTo>
                  <a:cubicBezTo>
                    <a:pt x="39" y="271"/>
                    <a:pt x="37" y="271"/>
                    <a:pt x="36" y="271"/>
                  </a:cubicBezTo>
                  <a:cubicBezTo>
                    <a:pt x="36" y="270"/>
                    <a:pt x="36" y="268"/>
                    <a:pt x="37" y="267"/>
                  </a:cubicBezTo>
                  <a:cubicBezTo>
                    <a:pt x="39" y="261"/>
                    <a:pt x="41" y="254"/>
                    <a:pt x="39" y="247"/>
                  </a:cubicBezTo>
                  <a:cubicBezTo>
                    <a:pt x="37" y="241"/>
                    <a:pt x="31" y="236"/>
                    <a:pt x="26" y="232"/>
                  </a:cubicBezTo>
                  <a:cubicBezTo>
                    <a:pt x="25" y="232"/>
                    <a:pt x="24" y="231"/>
                    <a:pt x="23" y="230"/>
                  </a:cubicBezTo>
                  <a:cubicBezTo>
                    <a:pt x="24" y="229"/>
                    <a:pt x="25" y="228"/>
                    <a:pt x="26" y="227"/>
                  </a:cubicBezTo>
                  <a:cubicBezTo>
                    <a:pt x="31" y="223"/>
                    <a:pt x="37" y="219"/>
                    <a:pt x="39" y="213"/>
                  </a:cubicBezTo>
                  <a:cubicBezTo>
                    <a:pt x="41" y="206"/>
                    <a:pt x="39" y="199"/>
                    <a:pt x="38" y="193"/>
                  </a:cubicBezTo>
                  <a:cubicBezTo>
                    <a:pt x="37" y="192"/>
                    <a:pt x="37" y="190"/>
                    <a:pt x="37" y="189"/>
                  </a:cubicBezTo>
                  <a:cubicBezTo>
                    <a:pt x="38" y="189"/>
                    <a:pt x="40" y="189"/>
                    <a:pt x="41" y="189"/>
                  </a:cubicBezTo>
                  <a:cubicBezTo>
                    <a:pt x="47" y="189"/>
                    <a:pt x="54" y="189"/>
                    <a:pt x="60" y="185"/>
                  </a:cubicBezTo>
                  <a:cubicBezTo>
                    <a:pt x="66" y="181"/>
                    <a:pt x="68" y="174"/>
                    <a:pt x="70" y="169"/>
                  </a:cubicBezTo>
                  <a:cubicBezTo>
                    <a:pt x="71" y="167"/>
                    <a:pt x="71" y="166"/>
                    <a:pt x="72" y="164"/>
                  </a:cubicBezTo>
                  <a:cubicBezTo>
                    <a:pt x="73" y="165"/>
                    <a:pt x="75" y="167"/>
                    <a:pt x="76" y="168"/>
                  </a:cubicBezTo>
                  <a:cubicBezTo>
                    <a:pt x="81" y="172"/>
                    <a:pt x="87" y="177"/>
                    <a:pt x="93" y="177"/>
                  </a:cubicBezTo>
                  <a:cubicBezTo>
                    <a:pt x="94" y="177"/>
                    <a:pt x="94" y="177"/>
                    <a:pt x="94" y="177"/>
                  </a:cubicBezTo>
                  <a:cubicBezTo>
                    <a:pt x="101" y="177"/>
                    <a:pt x="106" y="172"/>
                    <a:pt x="111" y="168"/>
                  </a:cubicBezTo>
                  <a:cubicBezTo>
                    <a:pt x="112" y="168"/>
                    <a:pt x="114" y="165"/>
                    <a:pt x="115" y="164"/>
                  </a:cubicBezTo>
                  <a:cubicBezTo>
                    <a:pt x="116" y="166"/>
                    <a:pt x="116" y="168"/>
                    <a:pt x="117" y="169"/>
                  </a:cubicBezTo>
                  <a:cubicBezTo>
                    <a:pt x="119" y="175"/>
                    <a:pt x="121" y="181"/>
                    <a:pt x="127" y="185"/>
                  </a:cubicBezTo>
                  <a:cubicBezTo>
                    <a:pt x="132" y="189"/>
                    <a:pt x="139" y="190"/>
                    <a:pt x="145" y="190"/>
                  </a:cubicBezTo>
                  <a:cubicBezTo>
                    <a:pt x="146" y="190"/>
                    <a:pt x="148" y="190"/>
                    <a:pt x="150" y="190"/>
                  </a:cubicBezTo>
                  <a:cubicBezTo>
                    <a:pt x="149" y="192"/>
                    <a:pt x="149" y="193"/>
                    <a:pt x="149" y="194"/>
                  </a:cubicBezTo>
                  <a:cubicBezTo>
                    <a:pt x="147" y="200"/>
                    <a:pt x="145" y="207"/>
                    <a:pt x="147" y="214"/>
                  </a:cubicBezTo>
                  <a:cubicBezTo>
                    <a:pt x="149" y="221"/>
                    <a:pt x="154" y="225"/>
                    <a:pt x="159" y="229"/>
                  </a:cubicBezTo>
                  <a:cubicBezTo>
                    <a:pt x="160" y="230"/>
                    <a:pt x="162" y="231"/>
                    <a:pt x="163" y="232"/>
                  </a:cubicBezTo>
                  <a:cubicBezTo>
                    <a:pt x="161" y="233"/>
                    <a:pt x="160" y="234"/>
                    <a:pt x="159" y="235"/>
                  </a:cubicBezTo>
                  <a:close/>
                  <a:moveTo>
                    <a:pt x="109" y="199"/>
                  </a:moveTo>
                  <a:cubicBezTo>
                    <a:pt x="101" y="195"/>
                    <a:pt x="91" y="194"/>
                    <a:pt x="82" y="197"/>
                  </a:cubicBezTo>
                  <a:cubicBezTo>
                    <a:pt x="73" y="200"/>
                    <a:pt x="66" y="206"/>
                    <a:pt x="61" y="214"/>
                  </a:cubicBezTo>
                  <a:cubicBezTo>
                    <a:pt x="57" y="223"/>
                    <a:pt x="56" y="232"/>
                    <a:pt x="59" y="241"/>
                  </a:cubicBezTo>
                  <a:cubicBezTo>
                    <a:pt x="62" y="250"/>
                    <a:pt x="68" y="258"/>
                    <a:pt x="76" y="262"/>
                  </a:cubicBezTo>
                  <a:cubicBezTo>
                    <a:pt x="81" y="265"/>
                    <a:pt x="87" y="266"/>
                    <a:pt x="93" y="266"/>
                  </a:cubicBezTo>
                  <a:cubicBezTo>
                    <a:pt x="96" y="266"/>
                    <a:pt x="100" y="266"/>
                    <a:pt x="103" y="265"/>
                  </a:cubicBezTo>
                  <a:cubicBezTo>
                    <a:pt x="112" y="262"/>
                    <a:pt x="120" y="256"/>
                    <a:pt x="124" y="247"/>
                  </a:cubicBezTo>
                  <a:cubicBezTo>
                    <a:pt x="129" y="239"/>
                    <a:pt x="129" y="229"/>
                    <a:pt x="127" y="220"/>
                  </a:cubicBezTo>
                  <a:cubicBezTo>
                    <a:pt x="124" y="211"/>
                    <a:pt x="118" y="204"/>
                    <a:pt x="109" y="199"/>
                  </a:cubicBezTo>
                  <a:close/>
                  <a:moveTo>
                    <a:pt x="105" y="237"/>
                  </a:moveTo>
                  <a:cubicBezTo>
                    <a:pt x="103" y="241"/>
                    <a:pt x="101" y="243"/>
                    <a:pt x="97" y="244"/>
                  </a:cubicBezTo>
                  <a:cubicBezTo>
                    <a:pt x="93" y="245"/>
                    <a:pt x="89" y="245"/>
                    <a:pt x="86" y="243"/>
                  </a:cubicBezTo>
                  <a:cubicBezTo>
                    <a:pt x="83" y="241"/>
                    <a:pt x="80" y="239"/>
                    <a:pt x="79" y="235"/>
                  </a:cubicBezTo>
                  <a:cubicBezTo>
                    <a:pt x="78" y="231"/>
                    <a:pt x="78" y="227"/>
                    <a:pt x="80" y="224"/>
                  </a:cubicBezTo>
                  <a:cubicBezTo>
                    <a:pt x="82" y="221"/>
                    <a:pt x="85" y="218"/>
                    <a:pt x="88" y="217"/>
                  </a:cubicBezTo>
                  <a:cubicBezTo>
                    <a:pt x="90" y="217"/>
                    <a:pt x="91" y="216"/>
                    <a:pt x="93" y="216"/>
                  </a:cubicBezTo>
                  <a:cubicBezTo>
                    <a:pt x="95" y="216"/>
                    <a:pt x="97" y="217"/>
                    <a:pt x="99" y="218"/>
                  </a:cubicBezTo>
                  <a:cubicBezTo>
                    <a:pt x="103" y="220"/>
                    <a:pt x="105" y="223"/>
                    <a:pt x="106" y="226"/>
                  </a:cubicBezTo>
                  <a:cubicBezTo>
                    <a:pt x="107" y="230"/>
                    <a:pt x="107" y="234"/>
                    <a:pt x="105" y="237"/>
                  </a:cubicBezTo>
                  <a:close/>
                  <a:moveTo>
                    <a:pt x="311" y="74"/>
                  </a:moveTo>
                  <a:cubicBezTo>
                    <a:pt x="309" y="72"/>
                    <a:pt x="307" y="70"/>
                    <a:pt x="306" y="69"/>
                  </a:cubicBezTo>
                  <a:cubicBezTo>
                    <a:pt x="306" y="67"/>
                    <a:pt x="307" y="64"/>
                    <a:pt x="308" y="62"/>
                  </a:cubicBezTo>
                  <a:cubicBezTo>
                    <a:pt x="310" y="55"/>
                    <a:pt x="313" y="46"/>
                    <a:pt x="307" y="38"/>
                  </a:cubicBezTo>
                  <a:cubicBezTo>
                    <a:pt x="302" y="31"/>
                    <a:pt x="292" y="30"/>
                    <a:pt x="285" y="30"/>
                  </a:cubicBezTo>
                  <a:cubicBezTo>
                    <a:pt x="283" y="30"/>
                    <a:pt x="280" y="30"/>
                    <a:pt x="278" y="29"/>
                  </a:cubicBezTo>
                  <a:cubicBezTo>
                    <a:pt x="277" y="28"/>
                    <a:pt x="276" y="25"/>
                    <a:pt x="276" y="23"/>
                  </a:cubicBezTo>
                  <a:cubicBezTo>
                    <a:pt x="273" y="16"/>
                    <a:pt x="270" y="7"/>
                    <a:pt x="261" y="4"/>
                  </a:cubicBezTo>
                  <a:cubicBezTo>
                    <a:pt x="252" y="1"/>
                    <a:pt x="244" y="6"/>
                    <a:pt x="238" y="10"/>
                  </a:cubicBezTo>
                  <a:cubicBezTo>
                    <a:pt x="237" y="12"/>
                    <a:pt x="234" y="13"/>
                    <a:pt x="232" y="14"/>
                  </a:cubicBezTo>
                  <a:cubicBezTo>
                    <a:pt x="231" y="13"/>
                    <a:pt x="229" y="12"/>
                    <a:pt x="227" y="10"/>
                  </a:cubicBezTo>
                  <a:cubicBezTo>
                    <a:pt x="221" y="6"/>
                    <a:pt x="213" y="0"/>
                    <a:pt x="204" y="3"/>
                  </a:cubicBezTo>
                  <a:cubicBezTo>
                    <a:pt x="195" y="6"/>
                    <a:pt x="191" y="16"/>
                    <a:pt x="189" y="22"/>
                  </a:cubicBezTo>
                  <a:cubicBezTo>
                    <a:pt x="188" y="24"/>
                    <a:pt x="187" y="27"/>
                    <a:pt x="186" y="28"/>
                  </a:cubicBezTo>
                  <a:cubicBezTo>
                    <a:pt x="185" y="29"/>
                    <a:pt x="182" y="29"/>
                    <a:pt x="180" y="29"/>
                  </a:cubicBezTo>
                  <a:cubicBezTo>
                    <a:pt x="172" y="29"/>
                    <a:pt x="163" y="29"/>
                    <a:pt x="157" y="36"/>
                  </a:cubicBezTo>
                  <a:cubicBezTo>
                    <a:pt x="151" y="44"/>
                    <a:pt x="154" y="53"/>
                    <a:pt x="156" y="60"/>
                  </a:cubicBezTo>
                  <a:cubicBezTo>
                    <a:pt x="156" y="62"/>
                    <a:pt x="157" y="65"/>
                    <a:pt x="157" y="67"/>
                  </a:cubicBezTo>
                  <a:cubicBezTo>
                    <a:pt x="156" y="68"/>
                    <a:pt x="154" y="70"/>
                    <a:pt x="152" y="71"/>
                  </a:cubicBezTo>
                  <a:cubicBezTo>
                    <a:pt x="147" y="75"/>
                    <a:pt x="139" y="81"/>
                    <a:pt x="139" y="91"/>
                  </a:cubicBezTo>
                  <a:cubicBezTo>
                    <a:pt x="138" y="100"/>
                    <a:pt x="146" y="106"/>
                    <a:pt x="152" y="110"/>
                  </a:cubicBezTo>
                  <a:cubicBezTo>
                    <a:pt x="153" y="112"/>
                    <a:pt x="156" y="114"/>
                    <a:pt x="157" y="115"/>
                  </a:cubicBezTo>
                  <a:cubicBezTo>
                    <a:pt x="157" y="116"/>
                    <a:pt x="156" y="120"/>
                    <a:pt x="155" y="122"/>
                  </a:cubicBezTo>
                  <a:cubicBezTo>
                    <a:pt x="153" y="129"/>
                    <a:pt x="150" y="138"/>
                    <a:pt x="156" y="146"/>
                  </a:cubicBezTo>
                  <a:cubicBezTo>
                    <a:pt x="161" y="153"/>
                    <a:pt x="171" y="154"/>
                    <a:pt x="178" y="154"/>
                  </a:cubicBezTo>
                  <a:cubicBezTo>
                    <a:pt x="180" y="154"/>
                    <a:pt x="183" y="154"/>
                    <a:pt x="185" y="155"/>
                  </a:cubicBezTo>
                  <a:cubicBezTo>
                    <a:pt x="185" y="156"/>
                    <a:pt x="186" y="159"/>
                    <a:pt x="187" y="161"/>
                  </a:cubicBezTo>
                  <a:cubicBezTo>
                    <a:pt x="189" y="168"/>
                    <a:pt x="192" y="177"/>
                    <a:pt x="201" y="180"/>
                  </a:cubicBezTo>
                  <a:cubicBezTo>
                    <a:pt x="210" y="183"/>
                    <a:pt x="218" y="178"/>
                    <a:pt x="224" y="174"/>
                  </a:cubicBezTo>
                  <a:cubicBezTo>
                    <a:pt x="226" y="172"/>
                    <a:pt x="229" y="171"/>
                    <a:pt x="230" y="170"/>
                  </a:cubicBezTo>
                  <a:cubicBezTo>
                    <a:pt x="232" y="171"/>
                    <a:pt x="234" y="172"/>
                    <a:pt x="236" y="174"/>
                  </a:cubicBezTo>
                  <a:cubicBezTo>
                    <a:pt x="240" y="177"/>
                    <a:pt x="247" y="181"/>
                    <a:pt x="254" y="181"/>
                  </a:cubicBezTo>
                  <a:cubicBezTo>
                    <a:pt x="255" y="181"/>
                    <a:pt x="257" y="181"/>
                    <a:pt x="259" y="181"/>
                  </a:cubicBezTo>
                  <a:cubicBezTo>
                    <a:pt x="268" y="178"/>
                    <a:pt x="271" y="168"/>
                    <a:pt x="274" y="162"/>
                  </a:cubicBezTo>
                  <a:cubicBezTo>
                    <a:pt x="275" y="160"/>
                    <a:pt x="276" y="157"/>
                    <a:pt x="276" y="156"/>
                  </a:cubicBezTo>
                  <a:cubicBezTo>
                    <a:pt x="278" y="155"/>
                    <a:pt x="281" y="155"/>
                    <a:pt x="283" y="155"/>
                  </a:cubicBezTo>
                  <a:cubicBezTo>
                    <a:pt x="290" y="155"/>
                    <a:pt x="300" y="155"/>
                    <a:pt x="306" y="148"/>
                  </a:cubicBezTo>
                  <a:cubicBezTo>
                    <a:pt x="311" y="140"/>
                    <a:pt x="309" y="131"/>
                    <a:pt x="307" y="124"/>
                  </a:cubicBezTo>
                  <a:cubicBezTo>
                    <a:pt x="306" y="122"/>
                    <a:pt x="305" y="119"/>
                    <a:pt x="305" y="117"/>
                  </a:cubicBezTo>
                  <a:cubicBezTo>
                    <a:pt x="306" y="116"/>
                    <a:pt x="309" y="114"/>
                    <a:pt x="310" y="113"/>
                  </a:cubicBezTo>
                  <a:cubicBezTo>
                    <a:pt x="316" y="109"/>
                    <a:pt x="324" y="103"/>
                    <a:pt x="324" y="93"/>
                  </a:cubicBezTo>
                  <a:cubicBezTo>
                    <a:pt x="324" y="84"/>
                    <a:pt x="317" y="78"/>
                    <a:pt x="311" y="74"/>
                  </a:cubicBezTo>
                  <a:close/>
                  <a:moveTo>
                    <a:pt x="298" y="96"/>
                  </a:moveTo>
                  <a:cubicBezTo>
                    <a:pt x="293" y="100"/>
                    <a:pt x="287" y="104"/>
                    <a:pt x="285" y="110"/>
                  </a:cubicBezTo>
                  <a:cubicBezTo>
                    <a:pt x="283" y="117"/>
                    <a:pt x="285" y="123"/>
                    <a:pt x="286" y="129"/>
                  </a:cubicBezTo>
                  <a:cubicBezTo>
                    <a:pt x="287" y="131"/>
                    <a:pt x="287" y="132"/>
                    <a:pt x="287" y="134"/>
                  </a:cubicBezTo>
                  <a:cubicBezTo>
                    <a:pt x="286" y="134"/>
                    <a:pt x="284" y="134"/>
                    <a:pt x="283" y="134"/>
                  </a:cubicBezTo>
                  <a:cubicBezTo>
                    <a:pt x="277" y="134"/>
                    <a:pt x="270" y="134"/>
                    <a:pt x="264" y="138"/>
                  </a:cubicBezTo>
                  <a:cubicBezTo>
                    <a:pt x="258" y="142"/>
                    <a:pt x="256" y="148"/>
                    <a:pt x="254" y="154"/>
                  </a:cubicBezTo>
                  <a:cubicBezTo>
                    <a:pt x="253" y="155"/>
                    <a:pt x="253" y="157"/>
                    <a:pt x="252" y="158"/>
                  </a:cubicBezTo>
                  <a:cubicBezTo>
                    <a:pt x="251" y="157"/>
                    <a:pt x="249" y="155"/>
                    <a:pt x="248" y="155"/>
                  </a:cubicBezTo>
                  <a:cubicBezTo>
                    <a:pt x="243" y="151"/>
                    <a:pt x="237" y="145"/>
                    <a:pt x="231" y="145"/>
                  </a:cubicBezTo>
                  <a:cubicBezTo>
                    <a:pt x="230" y="145"/>
                    <a:pt x="230" y="145"/>
                    <a:pt x="230" y="145"/>
                  </a:cubicBezTo>
                  <a:cubicBezTo>
                    <a:pt x="223" y="145"/>
                    <a:pt x="218" y="151"/>
                    <a:pt x="213" y="154"/>
                  </a:cubicBezTo>
                  <a:cubicBezTo>
                    <a:pt x="212" y="155"/>
                    <a:pt x="210" y="157"/>
                    <a:pt x="209" y="158"/>
                  </a:cubicBezTo>
                  <a:cubicBezTo>
                    <a:pt x="208" y="157"/>
                    <a:pt x="208" y="155"/>
                    <a:pt x="207" y="154"/>
                  </a:cubicBezTo>
                  <a:cubicBezTo>
                    <a:pt x="205" y="148"/>
                    <a:pt x="203" y="141"/>
                    <a:pt x="197" y="137"/>
                  </a:cubicBezTo>
                  <a:cubicBezTo>
                    <a:pt x="192" y="133"/>
                    <a:pt x="185" y="133"/>
                    <a:pt x="179" y="133"/>
                  </a:cubicBezTo>
                  <a:cubicBezTo>
                    <a:pt x="178" y="133"/>
                    <a:pt x="176" y="133"/>
                    <a:pt x="174" y="132"/>
                  </a:cubicBezTo>
                  <a:cubicBezTo>
                    <a:pt x="175" y="131"/>
                    <a:pt x="175" y="129"/>
                    <a:pt x="175" y="128"/>
                  </a:cubicBezTo>
                  <a:cubicBezTo>
                    <a:pt x="177" y="122"/>
                    <a:pt x="179" y="115"/>
                    <a:pt x="177" y="109"/>
                  </a:cubicBezTo>
                  <a:cubicBezTo>
                    <a:pt x="175" y="102"/>
                    <a:pt x="170" y="98"/>
                    <a:pt x="165" y="94"/>
                  </a:cubicBezTo>
                  <a:cubicBezTo>
                    <a:pt x="164" y="93"/>
                    <a:pt x="162" y="92"/>
                    <a:pt x="161" y="91"/>
                  </a:cubicBezTo>
                  <a:cubicBezTo>
                    <a:pt x="163" y="90"/>
                    <a:pt x="164" y="89"/>
                    <a:pt x="165" y="88"/>
                  </a:cubicBezTo>
                  <a:cubicBezTo>
                    <a:pt x="170" y="84"/>
                    <a:pt x="176" y="80"/>
                    <a:pt x="178" y="74"/>
                  </a:cubicBezTo>
                  <a:cubicBezTo>
                    <a:pt x="180" y="67"/>
                    <a:pt x="178" y="61"/>
                    <a:pt x="176" y="55"/>
                  </a:cubicBezTo>
                  <a:cubicBezTo>
                    <a:pt x="176" y="53"/>
                    <a:pt x="176" y="52"/>
                    <a:pt x="175" y="50"/>
                  </a:cubicBezTo>
                  <a:cubicBezTo>
                    <a:pt x="177" y="50"/>
                    <a:pt x="179" y="50"/>
                    <a:pt x="180" y="50"/>
                  </a:cubicBezTo>
                  <a:cubicBezTo>
                    <a:pt x="186" y="50"/>
                    <a:pt x="193" y="50"/>
                    <a:pt x="199" y="46"/>
                  </a:cubicBezTo>
                  <a:cubicBezTo>
                    <a:pt x="204" y="42"/>
                    <a:pt x="207" y="36"/>
                    <a:pt x="209" y="30"/>
                  </a:cubicBezTo>
                  <a:cubicBezTo>
                    <a:pt x="209" y="29"/>
                    <a:pt x="210" y="27"/>
                    <a:pt x="211" y="26"/>
                  </a:cubicBezTo>
                  <a:cubicBezTo>
                    <a:pt x="212" y="27"/>
                    <a:pt x="214" y="29"/>
                    <a:pt x="215" y="29"/>
                  </a:cubicBezTo>
                  <a:cubicBezTo>
                    <a:pt x="220" y="33"/>
                    <a:pt x="225" y="39"/>
                    <a:pt x="232" y="39"/>
                  </a:cubicBezTo>
                  <a:cubicBezTo>
                    <a:pt x="232" y="39"/>
                    <a:pt x="232" y="39"/>
                    <a:pt x="232" y="39"/>
                  </a:cubicBezTo>
                  <a:cubicBezTo>
                    <a:pt x="239" y="39"/>
                    <a:pt x="245" y="33"/>
                    <a:pt x="250" y="30"/>
                  </a:cubicBezTo>
                  <a:cubicBezTo>
                    <a:pt x="251" y="29"/>
                    <a:pt x="253" y="27"/>
                    <a:pt x="254" y="26"/>
                  </a:cubicBezTo>
                  <a:cubicBezTo>
                    <a:pt x="254" y="27"/>
                    <a:pt x="255" y="29"/>
                    <a:pt x="255" y="30"/>
                  </a:cubicBezTo>
                  <a:cubicBezTo>
                    <a:pt x="257" y="36"/>
                    <a:pt x="260" y="43"/>
                    <a:pt x="265" y="47"/>
                  </a:cubicBezTo>
                  <a:cubicBezTo>
                    <a:pt x="271" y="51"/>
                    <a:pt x="278" y="51"/>
                    <a:pt x="284" y="51"/>
                  </a:cubicBezTo>
                  <a:cubicBezTo>
                    <a:pt x="285" y="51"/>
                    <a:pt x="287" y="51"/>
                    <a:pt x="288" y="52"/>
                  </a:cubicBezTo>
                  <a:cubicBezTo>
                    <a:pt x="288" y="53"/>
                    <a:pt x="288" y="55"/>
                    <a:pt x="287" y="56"/>
                  </a:cubicBezTo>
                  <a:cubicBezTo>
                    <a:pt x="285" y="62"/>
                    <a:pt x="283" y="69"/>
                    <a:pt x="285" y="75"/>
                  </a:cubicBezTo>
                  <a:cubicBezTo>
                    <a:pt x="287" y="82"/>
                    <a:pt x="293" y="86"/>
                    <a:pt x="298" y="90"/>
                  </a:cubicBezTo>
                  <a:cubicBezTo>
                    <a:pt x="299" y="91"/>
                    <a:pt x="300" y="92"/>
                    <a:pt x="301" y="93"/>
                  </a:cubicBezTo>
                  <a:cubicBezTo>
                    <a:pt x="300" y="94"/>
                    <a:pt x="299" y="95"/>
                    <a:pt x="298" y="96"/>
                  </a:cubicBezTo>
                  <a:close/>
                  <a:moveTo>
                    <a:pt x="248" y="61"/>
                  </a:moveTo>
                  <a:cubicBezTo>
                    <a:pt x="239" y="56"/>
                    <a:pt x="230" y="55"/>
                    <a:pt x="221" y="58"/>
                  </a:cubicBezTo>
                  <a:cubicBezTo>
                    <a:pt x="212" y="61"/>
                    <a:pt x="204" y="67"/>
                    <a:pt x="200" y="75"/>
                  </a:cubicBezTo>
                  <a:cubicBezTo>
                    <a:pt x="195" y="84"/>
                    <a:pt x="195" y="93"/>
                    <a:pt x="197" y="103"/>
                  </a:cubicBezTo>
                  <a:cubicBezTo>
                    <a:pt x="200" y="112"/>
                    <a:pt x="206" y="119"/>
                    <a:pt x="215" y="123"/>
                  </a:cubicBezTo>
                  <a:cubicBezTo>
                    <a:pt x="220" y="126"/>
                    <a:pt x="226" y="128"/>
                    <a:pt x="231" y="128"/>
                  </a:cubicBezTo>
                  <a:cubicBezTo>
                    <a:pt x="235" y="128"/>
                    <a:pt x="238" y="127"/>
                    <a:pt x="242" y="126"/>
                  </a:cubicBezTo>
                  <a:cubicBezTo>
                    <a:pt x="251" y="123"/>
                    <a:pt x="258" y="117"/>
                    <a:pt x="263" y="109"/>
                  </a:cubicBezTo>
                  <a:cubicBezTo>
                    <a:pt x="267" y="100"/>
                    <a:pt x="268" y="91"/>
                    <a:pt x="265" y="81"/>
                  </a:cubicBezTo>
                  <a:cubicBezTo>
                    <a:pt x="262" y="72"/>
                    <a:pt x="256" y="65"/>
                    <a:pt x="248" y="61"/>
                  </a:cubicBezTo>
                  <a:close/>
                  <a:moveTo>
                    <a:pt x="244" y="99"/>
                  </a:moveTo>
                  <a:cubicBezTo>
                    <a:pt x="242" y="102"/>
                    <a:pt x="239" y="104"/>
                    <a:pt x="236" y="106"/>
                  </a:cubicBezTo>
                  <a:cubicBezTo>
                    <a:pt x="232" y="107"/>
                    <a:pt x="228" y="106"/>
                    <a:pt x="225" y="105"/>
                  </a:cubicBezTo>
                  <a:cubicBezTo>
                    <a:pt x="221" y="103"/>
                    <a:pt x="219" y="100"/>
                    <a:pt x="218" y="96"/>
                  </a:cubicBezTo>
                  <a:cubicBezTo>
                    <a:pt x="217" y="93"/>
                    <a:pt x="217" y="89"/>
                    <a:pt x="219" y="85"/>
                  </a:cubicBezTo>
                  <a:cubicBezTo>
                    <a:pt x="221" y="82"/>
                    <a:pt x="223" y="80"/>
                    <a:pt x="227" y="78"/>
                  </a:cubicBezTo>
                  <a:cubicBezTo>
                    <a:pt x="229" y="78"/>
                    <a:pt x="230" y="78"/>
                    <a:pt x="231" y="78"/>
                  </a:cubicBezTo>
                  <a:cubicBezTo>
                    <a:pt x="234" y="78"/>
                    <a:pt x="236" y="78"/>
                    <a:pt x="238" y="79"/>
                  </a:cubicBezTo>
                  <a:cubicBezTo>
                    <a:pt x="241" y="81"/>
                    <a:pt x="244" y="84"/>
                    <a:pt x="245" y="88"/>
                  </a:cubicBezTo>
                  <a:cubicBezTo>
                    <a:pt x="246" y="91"/>
                    <a:pt x="246" y="95"/>
                    <a:pt x="244" y="9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xmlns:mc="http://schemas.openxmlformats.org/markup-compatibility/2006" xmlns:p14="http://schemas.microsoft.com/office/powerpoint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96"/>
            </a:p>
          </p:txBody>
        </p:sp>
      </p:grpSp>
      <p:grpSp>
        <p:nvGrpSpPr>
          <p:cNvPr id="28" name="Group 432">
            <a:extLst>
              <a:ext uri="{FF2B5EF4-FFF2-40B4-BE49-F238E27FC236}">
                <a16:creationId xmlns:a16="http://schemas.microsoft.com/office/drawing/2014/main" id="{8CECF132-9619-436E-9A85-FF723DC7BCF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84769" y="3208196"/>
            <a:ext cx="394838" cy="396000"/>
            <a:chOff x="3505" y="1546"/>
            <a:chExt cx="340" cy="341"/>
          </a:xfrm>
          <a:solidFill>
            <a:srgbClr val="014694"/>
          </a:solidFill>
        </p:grpSpPr>
        <p:sp>
          <p:nvSpPr>
            <p:cNvPr id="31" name="Freeform 433">
              <a:extLst>
                <a:ext uri="{FF2B5EF4-FFF2-40B4-BE49-F238E27FC236}">
                  <a16:creationId xmlns:a16="http://schemas.microsoft.com/office/drawing/2014/main" id="{B1E1F99E-B855-4774-808F-22CD28DDD65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69" y="1610"/>
              <a:ext cx="212" cy="213"/>
            </a:xfrm>
            <a:custGeom>
              <a:avLst/>
              <a:gdLst>
                <a:gd name="T0" fmla="*/ 309 w 320"/>
                <a:gd name="T1" fmla="*/ 149 h 320"/>
                <a:gd name="T2" fmla="*/ 287 w 320"/>
                <a:gd name="T3" fmla="*/ 149 h 320"/>
                <a:gd name="T4" fmla="*/ 170 w 320"/>
                <a:gd name="T5" fmla="*/ 32 h 320"/>
                <a:gd name="T6" fmla="*/ 170 w 320"/>
                <a:gd name="T7" fmla="*/ 10 h 320"/>
                <a:gd name="T8" fmla="*/ 160 w 320"/>
                <a:gd name="T9" fmla="*/ 0 h 320"/>
                <a:gd name="T10" fmla="*/ 149 w 320"/>
                <a:gd name="T11" fmla="*/ 10 h 320"/>
                <a:gd name="T12" fmla="*/ 149 w 320"/>
                <a:gd name="T13" fmla="*/ 32 h 320"/>
                <a:gd name="T14" fmla="*/ 32 w 320"/>
                <a:gd name="T15" fmla="*/ 149 h 320"/>
                <a:gd name="T16" fmla="*/ 10 w 320"/>
                <a:gd name="T17" fmla="*/ 149 h 320"/>
                <a:gd name="T18" fmla="*/ 0 w 320"/>
                <a:gd name="T19" fmla="*/ 160 h 320"/>
                <a:gd name="T20" fmla="*/ 10 w 320"/>
                <a:gd name="T21" fmla="*/ 170 h 320"/>
                <a:gd name="T22" fmla="*/ 32 w 320"/>
                <a:gd name="T23" fmla="*/ 170 h 320"/>
                <a:gd name="T24" fmla="*/ 149 w 320"/>
                <a:gd name="T25" fmla="*/ 287 h 320"/>
                <a:gd name="T26" fmla="*/ 149 w 320"/>
                <a:gd name="T27" fmla="*/ 309 h 320"/>
                <a:gd name="T28" fmla="*/ 160 w 320"/>
                <a:gd name="T29" fmla="*/ 320 h 320"/>
                <a:gd name="T30" fmla="*/ 170 w 320"/>
                <a:gd name="T31" fmla="*/ 309 h 320"/>
                <a:gd name="T32" fmla="*/ 170 w 320"/>
                <a:gd name="T33" fmla="*/ 287 h 320"/>
                <a:gd name="T34" fmla="*/ 287 w 320"/>
                <a:gd name="T35" fmla="*/ 170 h 320"/>
                <a:gd name="T36" fmla="*/ 309 w 320"/>
                <a:gd name="T37" fmla="*/ 170 h 320"/>
                <a:gd name="T38" fmla="*/ 320 w 320"/>
                <a:gd name="T39" fmla="*/ 160 h 320"/>
                <a:gd name="T40" fmla="*/ 309 w 320"/>
                <a:gd name="T41" fmla="*/ 149 h 320"/>
                <a:gd name="T42" fmla="*/ 266 w 320"/>
                <a:gd name="T43" fmla="*/ 149 h 320"/>
                <a:gd name="T44" fmla="*/ 233 w 320"/>
                <a:gd name="T45" fmla="*/ 149 h 320"/>
                <a:gd name="T46" fmla="*/ 170 w 320"/>
                <a:gd name="T47" fmla="*/ 86 h 320"/>
                <a:gd name="T48" fmla="*/ 170 w 320"/>
                <a:gd name="T49" fmla="*/ 54 h 320"/>
                <a:gd name="T50" fmla="*/ 266 w 320"/>
                <a:gd name="T51" fmla="*/ 149 h 320"/>
                <a:gd name="T52" fmla="*/ 149 w 320"/>
                <a:gd name="T53" fmla="*/ 149 h 320"/>
                <a:gd name="T54" fmla="*/ 107 w 320"/>
                <a:gd name="T55" fmla="*/ 149 h 320"/>
                <a:gd name="T56" fmla="*/ 149 w 320"/>
                <a:gd name="T57" fmla="*/ 107 h 320"/>
                <a:gd name="T58" fmla="*/ 149 w 320"/>
                <a:gd name="T59" fmla="*/ 149 h 320"/>
                <a:gd name="T60" fmla="*/ 149 w 320"/>
                <a:gd name="T61" fmla="*/ 170 h 320"/>
                <a:gd name="T62" fmla="*/ 149 w 320"/>
                <a:gd name="T63" fmla="*/ 212 h 320"/>
                <a:gd name="T64" fmla="*/ 107 w 320"/>
                <a:gd name="T65" fmla="*/ 170 h 320"/>
                <a:gd name="T66" fmla="*/ 149 w 320"/>
                <a:gd name="T67" fmla="*/ 170 h 320"/>
                <a:gd name="T68" fmla="*/ 170 w 320"/>
                <a:gd name="T69" fmla="*/ 170 h 320"/>
                <a:gd name="T70" fmla="*/ 212 w 320"/>
                <a:gd name="T71" fmla="*/ 170 h 320"/>
                <a:gd name="T72" fmla="*/ 170 w 320"/>
                <a:gd name="T73" fmla="*/ 212 h 320"/>
                <a:gd name="T74" fmla="*/ 170 w 320"/>
                <a:gd name="T75" fmla="*/ 170 h 320"/>
                <a:gd name="T76" fmla="*/ 170 w 320"/>
                <a:gd name="T77" fmla="*/ 149 h 320"/>
                <a:gd name="T78" fmla="*/ 170 w 320"/>
                <a:gd name="T79" fmla="*/ 107 h 320"/>
                <a:gd name="T80" fmla="*/ 212 w 320"/>
                <a:gd name="T81" fmla="*/ 149 h 320"/>
                <a:gd name="T82" fmla="*/ 170 w 320"/>
                <a:gd name="T83" fmla="*/ 149 h 320"/>
                <a:gd name="T84" fmla="*/ 149 w 320"/>
                <a:gd name="T85" fmla="*/ 54 h 320"/>
                <a:gd name="T86" fmla="*/ 149 w 320"/>
                <a:gd name="T87" fmla="*/ 86 h 320"/>
                <a:gd name="T88" fmla="*/ 86 w 320"/>
                <a:gd name="T89" fmla="*/ 149 h 320"/>
                <a:gd name="T90" fmla="*/ 54 w 320"/>
                <a:gd name="T91" fmla="*/ 149 h 320"/>
                <a:gd name="T92" fmla="*/ 149 w 320"/>
                <a:gd name="T93" fmla="*/ 54 h 320"/>
                <a:gd name="T94" fmla="*/ 54 w 320"/>
                <a:gd name="T95" fmla="*/ 170 h 320"/>
                <a:gd name="T96" fmla="*/ 86 w 320"/>
                <a:gd name="T97" fmla="*/ 170 h 320"/>
                <a:gd name="T98" fmla="*/ 149 w 320"/>
                <a:gd name="T99" fmla="*/ 233 h 320"/>
                <a:gd name="T100" fmla="*/ 149 w 320"/>
                <a:gd name="T101" fmla="*/ 266 h 320"/>
                <a:gd name="T102" fmla="*/ 54 w 320"/>
                <a:gd name="T103" fmla="*/ 170 h 320"/>
                <a:gd name="T104" fmla="*/ 170 w 320"/>
                <a:gd name="T105" fmla="*/ 266 h 320"/>
                <a:gd name="T106" fmla="*/ 170 w 320"/>
                <a:gd name="T107" fmla="*/ 233 h 320"/>
                <a:gd name="T108" fmla="*/ 233 w 320"/>
                <a:gd name="T109" fmla="*/ 170 h 320"/>
                <a:gd name="T110" fmla="*/ 266 w 320"/>
                <a:gd name="T111" fmla="*/ 170 h 320"/>
                <a:gd name="T112" fmla="*/ 170 w 320"/>
                <a:gd name="T113" fmla="*/ 266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20" h="320">
                  <a:moveTo>
                    <a:pt x="309" y="149"/>
                  </a:moveTo>
                  <a:cubicBezTo>
                    <a:pt x="287" y="149"/>
                    <a:pt x="287" y="149"/>
                    <a:pt x="287" y="149"/>
                  </a:cubicBezTo>
                  <a:cubicBezTo>
                    <a:pt x="282" y="87"/>
                    <a:pt x="232" y="37"/>
                    <a:pt x="170" y="32"/>
                  </a:cubicBezTo>
                  <a:cubicBezTo>
                    <a:pt x="170" y="10"/>
                    <a:pt x="170" y="10"/>
                    <a:pt x="170" y="10"/>
                  </a:cubicBezTo>
                  <a:cubicBezTo>
                    <a:pt x="170" y="4"/>
                    <a:pt x="166" y="0"/>
                    <a:pt x="160" y="0"/>
                  </a:cubicBezTo>
                  <a:cubicBezTo>
                    <a:pt x="154" y="0"/>
                    <a:pt x="149" y="4"/>
                    <a:pt x="149" y="10"/>
                  </a:cubicBezTo>
                  <a:cubicBezTo>
                    <a:pt x="149" y="32"/>
                    <a:pt x="149" y="32"/>
                    <a:pt x="149" y="32"/>
                  </a:cubicBezTo>
                  <a:cubicBezTo>
                    <a:pt x="87" y="37"/>
                    <a:pt x="37" y="87"/>
                    <a:pt x="32" y="149"/>
                  </a:cubicBezTo>
                  <a:cubicBezTo>
                    <a:pt x="10" y="149"/>
                    <a:pt x="10" y="149"/>
                    <a:pt x="10" y="149"/>
                  </a:cubicBezTo>
                  <a:cubicBezTo>
                    <a:pt x="4" y="149"/>
                    <a:pt x="0" y="154"/>
                    <a:pt x="0" y="160"/>
                  </a:cubicBezTo>
                  <a:cubicBezTo>
                    <a:pt x="0" y="166"/>
                    <a:pt x="4" y="170"/>
                    <a:pt x="10" y="170"/>
                  </a:cubicBezTo>
                  <a:cubicBezTo>
                    <a:pt x="32" y="170"/>
                    <a:pt x="32" y="170"/>
                    <a:pt x="32" y="170"/>
                  </a:cubicBezTo>
                  <a:cubicBezTo>
                    <a:pt x="37" y="232"/>
                    <a:pt x="87" y="282"/>
                    <a:pt x="149" y="287"/>
                  </a:cubicBezTo>
                  <a:cubicBezTo>
                    <a:pt x="149" y="309"/>
                    <a:pt x="149" y="309"/>
                    <a:pt x="149" y="309"/>
                  </a:cubicBezTo>
                  <a:cubicBezTo>
                    <a:pt x="149" y="315"/>
                    <a:pt x="154" y="320"/>
                    <a:pt x="160" y="320"/>
                  </a:cubicBezTo>
                  <a:cubicBezTo>
                    <a:pt x="166" y="320"/>
                    <a:pt x="170" y="315"/>
                    <a:pt x="170" y="309"/>
                  </a:cubicBezTo>
                  <a:cubicBezTo>
                    <a:pt x="170" y="287"/>
                    <a:pt x="170" y="287"/>
                    <a:pt x="170" y="287"/>
                  </a:cubicBezTo>
                  <a:cubicBezTo>
                    <a:pt x="232" y="282"/>
                    <a:pt x="282" y="232"/>
                    <a:pt x="287" y="170"/>
                  </a:cubicBezTo>
                  <a:cubicBezTo>
                    <a:pt x="309" y="170"/>
                    <a:pt x="309" y="170"/>
                    <a:pt x="309" y="170"/>
                  </a:cubicBezTo>
                  <a:cubicBezTo>
                    <a:pt x="315" y="170"/>
                    <a:pt x="320" y="166"/>
                    <a:pt x="320" y="160"/>
                  </a:cubicBezTo>
                  <a:cubicBezTo>
                    <a:pt x="320" y="154"/>
                    <a:pt x="315" y="149"/>
                    <a:pt x="309" y="149"/>
                  </a:cubicBezTo>
                  <a:close/>
                  <a:moveTo>
                    <a:pt x="266" y="149"/>
                  </a:moveTo>
                  <a:cubicBezTo>
                    <a:pt x="233" y="149"/>
                    <a:pt x="233" y="149"/>
                    <a:pt x="233" y="149"/>
                  </a:cubicBezTo>
                  <a:cubicBezTo>
                    <a:pt x="229" y="116"/>
                    <a:pt x="203" y="91"/>
                    <a:pt x="170" y="86"/>
                  </a:cubicBezTo>
                  <a:cubicBezTo>
                    <a:pt x="170" y="54"/>
                    <a:pt x="170" y="54"/>
                    <a:pt x="170" y="54"/>
                  </a:cubicBezTo>
                  <a:cubicBezTo>
                    <a:pt x="221" y="59"/>
                    <a:pt x="261" y="99"/>
                    <a:pt x="266" y="149"/>
                  </a:cubicBezTo>
                  <a:close/>
                  <a:moveTo>
                    <a:pt x="149" y="149"/>
                  </a:moveTo>
                  <a:cubicBezTo>
                    <a:pt x="107" y="149"/>
                    <a:pt x="107" y="149"/>
                    <a:pt x="107" y="149"/>
                  </a:cubicBezTo>
                  <a:cubicBezTo>
                    <a:pt x="112" y="128"/>
                    <a:pt x="128" y="112"/>
                    <a:pt x="149" y="107"/>
                  </a:cubicBezTo>
                  <a:lnTo>
                    <a:pt x="149" y="149"/>
                  </a:lnTo>
                  <a:close/>
                  <a:moveTo>
                    <a:pt x="149" y="170"/>
                  </a:moveTo>
                  <a:cubicBezTo>
                    <a:pt x="149" y="212"/>
                    <a:pt x="149" y="212"/>
                    <a:pt x="149" y="212"/>
                  </a:cubicBezTo>
                  <a:cubicBezTo>
                    <a:pt x="128" y="208"/>
                    <a:pt x="112" y="191"/>
                    <a:pt x="107" y="170"/>
                  </a:cubicBezTo>
                  <a:lnTo>
                    <a:pt x="149" y="170"/>
                  </a:lnTo>
                  <a:close/>
                  <a:moveTo>
                    <a:pt x="170" y="170"/>
                  </a:moveTo>
                  <a:cubicBezTo>
                    <a:pt x="212" y="170"/>
                    <a:pt x="212" y="170"/>
                    <a:pt x="212" y="170"/>
                  </a:cubicBezTo>
                  <a:cubicBezTo>
                    <a:pt x="208" y="191"/>
                    <a:pt x="191" y="208"/>
                    <a:pt x="170" y="212"/>
                  </a:cubicBezTo>
                  <a:lnTo>
                    <a:pt x="170" y="170"/>
                  </a:lnTo>
                  <a:close/>
                  <a:moveTo>
                    <a:pt x="170" y="149"/>
                  </a:moveTo>
                  <a:cubicBezTo>
                    <a:pt x="170" y="107"/>
                    <a:pt x="170" y="107"/>
                    <a:pt x="170" y="107"/>
                  </a:cubicBezTo>
                  <a:cubicBezTo>
                    <a:pt x="191" y="112"/>
                    <a:pt x="208" y="128"/>
                    <a:pt x="212" y="149"/>
                  </a:cubicBezTo>
                  <a:lnTo>
                    <a:pt x="170" y="149"/>
                  </a:lnTo>
                  <a:close/>
                  <a:moveTo>
                    <a:pt x="149" y="54"/>
                  </a:moveTo>
                  <a:cubicBezTo>
                    <a:pt x="149" y="86"/>
                    <a:pt x="149" y="86"/>
                    <a:pt x="149" y="86"/>
                  </a:cubicBezTo>
                  <a:cubicBezTo>
                    <a:pt x="116" y="91"/>
                    <a:pt x="91" y="116"/>
                    <a:pt x="86" y="149"/>
                  </a:cubicBezTo>
                  <a:cubicBezTo>
                    <a:pt x="54" y="149"/>
                    <a:pt x="54" y="149"/>
                    <a:pt x="54" y="149"/>
                  </a:cubicBezTo>
                  <a:cubicBezTo>
                    <a:pt x="59" y="99"/>
                    <a:pt x="99" y="59"/>
                    <a:pt x="149" y="54"/>
                  </a:cubicBezTo>
                  <a:close/>
                  <a:moveTo>
                    <a:pt x="54" y="170"/>
                  </a:moveTo>
                  <a:cubicBezTo>
                    <a:pt x="86" y="170"/>
                    <a:pt x="86" y="170"/>
                    <a:pt x="86" y="170"/>
                  </a:cubicBezTo>
                  <a:cubicBezTo>
                    <a:pt x="91" y="203"/>
                    <a:pt x="116" y="229"/>
                    <a:pt x="149" y="233"/>
                  </a:cubicBezTo>
                  <a:cubicBezTo>
                    <a:pt x="149" y="266"/>
                    <a:pt x="149" y="266"/>
                    <a:pt x="149" y="266"/>
                  </a:cubicBezTo>
                  <a:cubicBezTo>
                    <a:pt x="99" y="261"/>
                    <a:pt x="59" y="221"/>
                    <a:pt x="54" y="170"/>
                  </a:cubicBezTo>
                  <a:close/>
                  <a:moveTo>
                    <a:pt x="170" y="266"/>
                  </a:moveTo>
                  <a:cubicBezTo>
                    <a:pt x="170" y="233"/>
                    <a:pt x="170" y="233"/>
                    <a:pt x="170" y="233"/>
                  </a:cubicBezTo>
                  <a:cubicBezTo>
                    <a:pt x="203" y="229"/>
                    <a:pt x="229" y="203"/>
                    <a:pt x="233" y="170"/>
                  </a:cubicBezTo>
                  <a:cubicBezTo>
                    <a:pt x="266" y="170"/>
                    <a:pt x="266" y="170"/>
                    <a:pt x="266" y="170"/>
                  </a:cubicBezTo>
                  <a:cubicBezTo>
                    <a:pt x="261" y="221"/>
                    <a:pt x="221" y="261"/>
                    <a:pt x="170" y="2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xmlns:mc="http://schemas.openxmlformats.org/markup-compatibility/2006" xmlns:p14="http://schemas.microsoft.com/office/powerpoint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96"/>
            </a:p>
          </p:txBody>
        </p:sp>
        <p:sp>
          <p:nvSpPr>
            <p:cNvPr id="32" name="Freeform 434">
              <a:extLst>
                <a:ext uri="{FF2B5EF4-FFF2-40B4-BE49-F238E27FC236}">
                  <a16:creationId xmlns:a16="http://schemas.microsoft.com/office/drawing/2014/main" id="{FDD5F1A3-5FB2-417D-AA03-77AB924AC1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05" y="1546"/>
              <a:ext cx="340" cy="34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xmlns:mc="http://schemas.openxmlformats.org/markup-compatibility/2006" xmlns:p14="http://schemas.microsoft.com/office/powerpoint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96"/>
            </a:p>
          </p:txBody>
        </p:sp>
      </p:grpSp>
      <p:grpSp>
        <p:nvGrpSpPr>
          <p:cNvPr id="33" name="Group 614">
            <a:extLst>
              <a:ext uri="{FF2B5EF4-FFF2-40B4-BE49-F238E27FC236}">
                <a16:creationId xmlns:a16="http://schemas.microsoft.com/office/drawing/2014/main" id="{0545338C-AFA0-423B-9A7D-8F01C456AD0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84791" y="3879090"/>
            <a:ext cx="396002" cy="396004"/>
            <a:chOff x="3780" y="2658"/>
            <a:chExt cx="340" cy="340"/>
          </a:xfrm>
          <a:solidFill>
            <a:srgbClr val="014694"/>
          </a:solidFill>
        </p:grpSpPr>
        <p:sp>
          <p:nvSpPr>
            <p:cNvPr id="34" name="Freeform 615">
              <a:extLst>
                <a:ext uri="{FF2B5EF4-FFF2-40B4-BE49-F238E27FC236}">
                  <a16:creationId xmlns:a16="http://schemas.microsoft.com/office/drawing/2014/main" id="{DAD7CCF8-E46F-4245-9434-74C887810E5E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8" y="2799"/>
              <a:ext cx="28" cy="14"/>
            </a:xfrm>
            <a:custGeom>
              <a:avLst/>
              <a:gdLst>
                <a:gd name="T0" fmla="*/ 32 w 43"/>
                <a:gd name="T1" fmla="*/ 0 h 21"/>
                <a:gd name="T2" fmla="*/ 11 w 43"/>
                <a:gd name="T3" fmla="*/ 0 h 21"/>
                <a:gd name="T4" fmla="*/ 0 w 43"/>
                <a:gd name="T5" fmla="*/ 11 h 21"/>
                <a:gd name="T6" fmla="*/ 11 w 43"/>
                <a:gd name="T7" fmla="*/ 21 h 21"/>
                <a:gd name="T8" fmla="*/ 32 w 43"/>
                <a:gd name="T9" fmla="*/ 21 h 21"/>
                <a:gd name="T10" fmla="*/ 43 w 43"/>
                <a:gd name="T11" fmla="*/ 11 h 21"/>
                <a:gd name="T12" fmla="*/ 32 w 43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21">
                  <a:moveTo>
                    <a:pt x="32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8" y="21"/>
                    <a:pt x="43" y="17"/>
                    <a:pt x="43" y="11"/>
                  </a:cubicBezTo>
                  <a:cubicBezTo>
                    <a:pt x="43" y="5"/>
                    <a:pt x="38" y="0"/>
                    <a:pt x="3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xmlns:mc="http://schemas.openxmlformats.org/markup-compatibility/2006" xmlns:p14="http://schemas.microsoft.com/office/powerpoint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96"/>
            </a:p>
          </p:txBody>
        </p:sp>
        <p:sp>
          <p:nvSpPr>
            <p:cNvPr id="35" name="Freeform 616">
              <a:extLst>
                <a:ext uri="{FF2B5EF4-FFF2-40B4-BE49-F238E27FC236}">
                  <a16:creationId xmlns:a16="http://schemas.microsoft.com/office/drawing/2014/main" id="{D4C0F9BF-FCFE-4F6B-8E9F-DFA453E89F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8" y="2757"/>
              <a:ext cx="28" cy="14"/>
            </a:xfrm>
            <a:custGeom>
              <a:avLst/>
              <a:gdLst>
                <a:gd name="T0" fmla="*/ 32 w 43"/>
                <a:gd name="T1" fmla="*/ 0 h 21"/>
                <a:gd name="T2" fmla="*/ 11 w 43"/>
                <a:gd name="T3" fmla="*/ 0 h 21"/>
                <a:gd name="T4" fmla="*/ 0 w 43"/>
                <a:gd name="T5" fmla="*/ 11 h 21"/>
                <a:gd name="T6" fmla="*/ 11 w 43"/>
                <a:gd name="T7" fmla="*/ 21 h 21"/>
                <a:gd name="T8" fmla="*/ 32 w 43"/>
                <a:gd name="T9" fmla="*/ 21 h 21"/>
                <a:gd name="T10" fmla="*/ 43 w 43"/>
                <a:gd name="T11" fmla="*/ 11 h 21"/>
                <a:gd name="T12" fmla="*/ 32 w 43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21">
                  <a:moveTo>
                    <a:pt x="32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8" y="21"/>
                    <a:pt x="43" y="17"/>
                    <a:pt x="43" y="11"/>
                  </a:cubicBezTo>
                  <a:cubicBezTo>
                    <a:pt x="43" y="5"/>
                    <a:pt x="38" y="0"/>
                    <a:pt x="3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xmlns:mc="http://schemas.openxmlformats.org/markup-compatibility/2006" xmlns:p14="http://schemas.microsoft.com/office/powerpoint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96"/>
            </a:p>
          </p:txBody>
        </p:sp>
        <p:sp>
          <p:nvSpPr>
            <p:cNvPr id="36" name="Freeform 617">
              <a:extLst>
                <a:ext uri="{FF2B5EF4-FFF2-40B4-BE49-F238E27FC236}">
                  <a16:creationId xmlns:a16="http://schemas.microsoft.com/office/drawing/2014/main" id="{91103113-953E-41ED-B59A-B3E87432987A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8" y="2842"/>
              <a:ext cx="28" cy="14"/>
            </a:xfrm>
            <a:custGeom>
              <a:avLst/>
              <a:gdLst>
                <a:gd name="T0" fmla="*/ 32 w 43"/>
                <a:gd name="T1" fmla="*/ 0 h 21"/>
                <a:gd name="T2" fmla="*/ 11 w 43"/>
                <a:gd name="T3" fmla="*/ 0 h 21"/>
                <a:gd name="T4" fmla="*/ 0 w 43"/>
                <a:gd name="T5" fmla="*/ 11 h 21"/>
                <a:gd name="T6" fmla="*/ 11 w 43"/>
                <a:gd name="T7" fmla="*/ 21 h 21"/>
                <a:gd name="T8" fmla="*/ 32 w 43"/>
                <a:gd name="T9" fmla="*/ 21 h 21"/>
                <a:gd name="T10" fmla="*/ 43 w 43"/>
                <a:gd name="T11" fmla="*/ 11 h 21"/>
                <a:gd name="T12" fmla="*/ 32 w 43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21">
                  <a:moveTo>
                    <a:pt x="32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8" y="21"/>
                    <a:pt x="43" y="17"/>
                    <a:pt x="43" y="11"/>
                  </a:cubicBezTo>
                  <a:cubicBezTo>
                    <a:pt x="43" y="5"/>
                    <a:pt x="38" y="0"/>
                    <a:pt x="3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xmlns:mc="http://schemas.openxmlformats.org/markup-compatibility/2006" xmlns:p14="http://schemas.microsoft.com/office/powerpoint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96"/>
            </a:p>
          </p:txBody>
        </p:sp>
        <p:sp>
          <p:nvSpPr>
            <p:cNvPr id="37" name="Freeform 618">
              <a:extLst>
                <a:ext uri="{FF2B5EF4-FFF2-40B4-BE49-F238E27FC236}">
                  <a16:creationId xmlns:a16="http://schemas.microsoft.com/office/drawing/2014/main" id="{5D35476D-9FBA-4899-9CAC-F43B97BFC46D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" y="2799"/>
              <a:ext cx="135" cy="14"/>
            </a:xfrm>
            <a:custGeom>
              <a:avLst/>
              <a:gdLst>
                <a:gd name="T0" fmla="*/ 192 w 202"/>
                <a:gd name="T1" fmla="*/ 0 h 21"/>
                <a:gd name="T2" fmla="*/ 10 w 202"/>
                <a:gd name="T3" fmla="*/ 0 h 21"/>
                <a:gd name="T4" fmla="*/ 0 w 202"/>
                <a:gd name="T5" fmla="*/ 11 h 21"/>
                <a:gd name="T6" fmla="*/ 10 w 202"/>
                <a:gd name="T7" fmla="*/ 21 h 21"/>
                <a:gd name="T8" fmla="*/ 192 w 202"/>
                <a:gd name="T9" fmla="*/ 21 h 21"/>
                <a:gd name="T10" fmla="*/ 202 w 202"/>
                <a:gd name="T11" fmla="*/ 11 h 21"/>
                <a:gd name="T12" fmla="*/ 192 w 202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2" h="21">
                  <a:moveTo>
                    <a:pt x="192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17"/>
                    <a:pt x="4" y="21"/>
                    <a:pt x="10" y="21"/>
                  </a:cubicBezTo>
                  <a:cubicBezTo>
                    <a:pt x="192" y="21"/>
                    <a:pt x="192" y="21"/>
                    <a:pt x="192" y="21"/>
                  </a:cubicBezTo>
                  <a:cubicBezTo>
                    <a:pt x="198" y="21"/>
                    <a:pt x="202" y="17"/>
                    <a:pt x="202" y="11"/>
                  </a:cubicBezTo>
                  <a:cubicBezTo>
                    <a:pt x="202" y="5"/>
                    <a:pt x="198" y="0"/>
                    <a:pt x="19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xmlns:mc="http://schemas.openxmlformats.org/markup-compatibility/2006" xmlns:p14="http://schemas.microsoft.com/office/powerpoint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96"/>
            </a:p>
          </p:txBody>
        </p:sp>
        <p:sp>
          <p:nvSpPr>
            <p:cNvPr id="38" name="Freeform 619">
              <a:extLst>
                <a:ext uri="{FF2B5EF4-FFF2-40B4-BE49-F238E27FC236}">
                  <a16:creationId xmlns:a16="http://schemas.microsoft.com/office/drawing/2014/main" id="{85F9C14B-9E17-4A36-8E2B-DD1FFC193A7C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" y="2757"/>
              <a:ext cx="135" cy="14"/>
            </a:xfrm>
            <a:custGeom>
              <a:avLst/>
              <a:gdLst>
                <a:gd name="T0" fmla="*/ 10 w 202"/>
                <a:gd name="T1" fmla="*/ 21 h 21"/>
                <a:gd name="T2" fmla="*/ 192 w 202"/>
                <a:gd name="T3" fmla="*/ 21 h 21"/>
                <a:gd name="T4" fmla="*/ 202 w 202"/>
                <a:gd name="T5" fmla="*/ 11 h 21"/>
                <a:gd name="T6" fmla="*/ 192 w 202"/>
                <a:gd name="T7" fmla="*/ 0 h 21"/>
                <a:gd name="T8" fmla="*/ 10 w 202"/>
                <a:gd name="T9" fmla="*/ 0 h 21"/>
                <a:gd name="T10" fmla="*/ 0 w 202"/>
                <a:gd name="T11" fmla="*/ 11 h 21"/>
                <a:gd name="T12" fmla="*/ 10 w 202"/>
                <a:gd name="T13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2" h="21">
                  <a:moveTo>
                    <a:pt x="10" y="21"/>
                  </a:moveTo>
                  <a:cubicBezTo>
                    <a:pt x="192" y="21"/>
                    <a:pt x="192" y="21"/>
                    <a:pt x="192" y="21"/>
                  </a:cubicBezTo>
                  <a:cubicBezTo>
                    <a:pt x="198" y="21"/>
                    <a:pt x="202" y="17"/>
                    <a:pt x="202" y="11"/>
                  </a:cubicBezTo>
                  <a:cubicBezTo>
                    <a:pt x="202" y="5"/>
                    <a:pt x="198" y="0"/>
                    <a:pt x="192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17"/>
                    <a:pt x="4" y="21"/>
                    <a:pt x="10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xmlns:mc="http://schemas.openxmlformats.org/markup-compatibility/2006" xmlns:p14="http://schemas.microsoft.com/office/powerpoint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96"/>
            </a:p>
          </p:txBody>
        </p:sp>
        <p:sp>
          <p:nvSpPr>
            <p:cNvPr id="39" name="Freeform 620">
              <a:extLst>
                <a:ext uri="{FF2B5EF4-FFF2-40B4-BE49-F238E27FC236}">
                  <a16:creationId xmlns:a16="http://schemas.microsoft.com/office/drawing/2014/main" id="{602CFDBC-A5B0-4A1A-AEC2-DEC57CC31EA9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" y="2842"/>
              <a:ext cx="135" cy="14"/>
            </a:xfrm>
            <a:custGeom>
              <a:avLst/>
              <a:gdLst>
                <a:gd name="T0" fmla="*/ 192 w 202"/>
                <a:gd name="T1" fmla="*/ 0 h 21"/>
                <a:gd name="T2" fmla="*/ 10 w 202"/>
                <a:gd name="T3" fmla="*/ 0 h 21"/>
                <a:gd name="T4" fmla="*/ 0 w 202"/>
                <a:gd name="T5" fmla="*/ 11 h 21"/>
                <a:gd name="T6" fmla="*/ 10 w 202"/>
                <a:gd name="T7" fmla="*/ 21 h 21"/>
                <a:gd name="T8" fmla="*/ 192 w 202"/>
                <a:gd name="T9" fmla="*/ 21 h 21"/>
                <a:gd name="T10" fmla="*/ 202 w 202"/>
                <a:gd name="T11" fmla="*/ 11 h 21"/>
                <a:gd name="T12" fmla="*/ 192 w 202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2" h="21">
                  <a:moveTo>
                    <a:pt x="192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17"/>
                    <a:pt x="4" y="21"/>
                    <a:pt x="10" y="21"/>
                  </a:cubicBezTo>
                  <a:cubicBezTo>
                    <a:pt x="192" y="21"/>
                    <a:pt x="192" y="21"/>
                    <a:pt x="192" y="21"/>
                  </a:cubicBezTo>
                  <a:cubicBezTo>
                    <a:pt x="198" y="21"/>
                    <a:pt x="202" y="17"/>
                    <a:pt x="202" y="11"/>
                  </a:cubicBezTo>
                  <a:cubicBezTo>
                    <a:pt x="202" y="5"/>
                    <a:pt x="198" y="0"/>
                    <a:pt x="19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xmlns:mc="http://schemas.openxmlformats.org/markup-compatibility/2006" xmlns:p14="http://schemas.microsoft.com/office/powerpoint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96"/>
            </a:p>
          </p:txBody>
        </p:sp>
        <p:sp>
          <p:nvSpPr>
            <p:cNvPr id="40" name="Freeform 621">
              <a:extLst>
                <a:ext uri="{FF2B5EF4-FFF2-40B4-BE49-F238E27FC236}">
                  <a16:creationId xmlns:a16="http://schemas.microsoft.com/office/drawing/2014/main" id="{83925D3E-BACB-41FD-95EB-9B429B8263AA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8" y="2884"/>
              <a:ext cx="28" cy="14"/>
            </a:xfrm>
            <a:custGeom>
              <a:avLst/>
              <a:gdLst>
                <a:gd name="T0" fmla="*/ 32 w 43"/>
                <a:gd name="T1" fmla="*/ 0 h 21"/>
                <a:gd name="T2" fmla="*/ 11 w 43"/>
                <a:gd name="T3" fmla="*/ 0 h 21"/>
                <a:gd name="T4" fmla="*/ 0 w 43"/>
                <a:gd name="T5" fmla="*/ 11 h 21"/>
                <a:gd name="T6" fmla="*/ 11 w 43"/>
                <a:gd name="T7" fmla="*/ 21 h 21"/>
                <a:gd name="T8" fmla="*/ 32 w 43"/>
                <a:gd name="T9" fmla="*/ 21 h 21"/>
                <a:gd name="T10" fmla="*/ 43 w 43"/>
                <a:gd name="T11" fmla="*/ 11 h 21"/>
                <a:gd name="T12" fmla="*/ 32 w 43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21">
                  <a:moveTo>
                    <a:pt x="32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8" y="21"/>
                    <a:pt x="43" y="17"/>
                    <a:pt x="43" y="11"/>
                  </a:cubicBezTo>
                  <a:cubicBezTo>
                    <a:pt x="43" y="5"/>
                    <a:pt x="38" y="0"/>
                    <a:pt x="3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xmlns:mc="http://schemas.openxmlformats.org/markup-compatibility/2006" xmlns:p14="http://schemas.microsoft.com/office/powerpoint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96"/>
            </a:p>
          </p:txBody>
        </p:sp>
        <p:sp>
          <p:nvSpPr>
            <p:cNvPr id="41" name="Freeform 622">
              <a:extLst>
                <a:ext uri="{FF2B5EF4-FFF2-40B4-BE49-F238E27FC236}">
                  <a16:creationId xmlns:a16="http://schemas.microsoft.com/office/drawing/2014/main" id="{FD6360BF-6166-4376-9427-B2D8FDA9F61E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" y="2884"/>
              <a:ext cx="135" cy="14"/>
            </a:xfrm>
            <a:custGeom>
              <a:avLst/>
              <a:gdLst>
                <a:gd name="T0" fmla="*/ 192 w 202"/>
                <a:gd name="T1" fmla="*/ 0 h 21"/>
                <a:gd name="T2" fmla="*/ 10 w 202"/>
                <a:gd name="T3" fmla="*/ 0 h 21"/>
                <a:gd name="T4" fmla="*/ 0 w 202"/>
                <a:gd name="T5" fmla="*/ 11 h 21"/>
                <a:gd name="T6" fmla="*/ 10 w 202"/>
                <a:gd name="T7" fmla="*/ 21 h 21"/>
                <a:gd name="T8" fmla="*/ 192 w 202"/>
                <a:gd name="T9" fmla="*/ 21 h 21"/>
                <a:gd name="T10" fmla="*/ 202 w 202"/>
                <a:gd name="T11" fmla="*/ 11 h 21"/>
                <a:gd name="T12" fmla="*/ 192 w 202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2" h="21">
                  <a:moveTo>
                    <a:pt x="192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17"/>
                    <a:pt x="4" y="21"/>
                    <a:pt x="10" y="21"/>
                  </a:cubicBezTo>
                  <a:cubicBezTo>
                    <a:pt x="192" y="21"/>
                    <a:pt x="192" y="21"/>
                    <a:pt x="192" y="21"/>
                  </a:cubicBezTo>
                  <a:cubicBezTo>
                    <a:pt x="198" y="21"/>
                    <a:pt x="202" y="17"/>
                    <a:pt x="202" y="11"/>
                  </a:cubicBezTo>
                  <a:cubicBezTo>
                    <a:pt x="202" y="5"/>
                    <a:pt x="198" y="0"/>
                    <a:pt x="19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xmlns:mc="http://schemas.openxmlformats.org/markup-compatibility/2006" xmlns:p14="http://schemas.microsoft.com/office/powerpoint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96"/>
            </a:p>
          </p:txBody>
        </p:sp>
        <p:sp>
          <p:nvSpPr>
            <p:cNvPr id="42" name="Freeform 623">
              <a:extLst>
                <a:ext uri="{FF2B5EF4-FFF2-40B4-BE49-F238E27FC236}">
                  <a16:creationId xmlns:a16="http://schemas.microsoft.com/office/drawing/2014/main" id="{5771B5AB-8101-4A85-B29F-7116AAE853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80" y="2658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xmlns:mc="http://schemas.openxmlformats.org/markup-compatibility/2006" xmlns:p14="http://schemas.microsoft.com/office/powerpoint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96"/>
            </a:p>
          </p:txBody>
        </p:sp>
      </p:grpSp>
    </p:spTree>
    <p:extLst>
      <p:ext uri="{BB962C8B-B14F-4D97-AF65-F5344CB8AC3E}">
        <p14:creationId xmlns:p14="http://schemas.microsoft.com/office/powerpoint/2010/main" val="4268190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0902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hIB77P0CxpZ68A1ZDQjT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uOrJMhjojhWkhTfzHKTG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chorvei\AppData\Local\Temp\Templafy\PowerPointVsto\Assets\chorvei.jp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aKSskg._JnrYXWlrABv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4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tnu_nn_16_9" id="{4910B9C1-D771-E44C-AB7F-12A684D03AF5}" vid="{81D91624-0E0F-3E4C-94FB-A3058ED54ED7}"/>
    </a:ext>
  </a:extLst>
</a:theme>
</file>

<file path=ppt/theme/theme3.xml><?xml version="1.0" encoding="utf-8"?>
<a:theme xmlns:a="http://schemas.openxmlformats.org/drawingml/2006/main" name="1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tnu_nn_16_9" id="{4910B9C1-D771-E44C-AB7F-12A684D03AF5}" vid="{81D91624-0E0F-3E4C-94FB-A3058ED54ED7}"/>
    </a:ext>
  </a:extLst>
</a:theme>
</file>

<file path=ppt/theme/theme4.xml><?xml version="1.0" encoding="utf-8"?>
<a:theme xmlns:a="http://schemas.openxmlformats.org/drawingml/2006/main" name="2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3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tnu_16_9" id="{85FF4AD1-7FE2-7C44-B48B-6970A3AAF856}" vid="{2428F606-780E-0346-BA3B-59B224E3FCC0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item1.xml><?xml version="1.0" encoding="utf-8"?>
<TemplafySlideTemplateConfiguration><![CDATA[{"documentContentValidatorConfiguration":{"enableDocumentContentValidator":false,"documentContentValidatorVersion":0},"elementsMetadata":[],"slideId":"637274689481644963","enableDocumentContentUpdater":true,"version":"1.1"}]]></TemplafySlideTemplateConfiguration>
</file>

<file path=customXml/item2.xml><?xml version="1.0" encoding="utf-8"?>
<TemplafySlideFormConfiguration><![CDATA[{"formFields":[],"formDataEntries":[]}]]></TemplafySlideFormConfiguration>
</file>

<file path=customXml/item3.xml><?xml version="1.0" encoding="utf-8"?>
<TemplafySlideTemplateConfiguration><![CDATA[{"documentContentValidatorConfiguration":{"enableDocumentContentValidator":false,"documentContentValidatorVersion":0},"elementsMetadata":[],"slideId":"637274689481644963","enableDocumentContentUpdater":true,"version":"1.1"}]]></TemplafySlideTemplateConfiguration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DD5007D4960C04FABF7CEA7C1807523" ma:contentTypeVersion="17" ma:contentTypeDescription="Create a new document." ma:contentTypeScope="" ma:versionID="7dfea05eb712fcac0687887c432bca01">
  <xsd:schema xmlns:xsd="http://www.w3.org/2001/XMLSchema" xmlns:xs="http://www.w3.org/2001/XMLSchema" xmlns:p="http://schemas.microsoft.com/office/2006/metadata/properties" xmlns:ns2="92f31348-0739-4467-8087-a9e650b26e61" xmlns:ns3="5a015d52-1a8c-45a9-b108-712092158594" targetNamespace="http://schemas.microsoft.com/office/2006/metadata/properties" ma:root="true" ma:fieldsID="831fca681fd83310759626df4217888b" ns2:_="" ns3:_="">
    <xsd:import namespace="92f31348-0739-4467-8087-a9e650b26e61"/>
    <xsd:import namespace="5a015d52-1a8c-45a9-b108-71209215859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MediaServiceLocation" minOccurs="0"/>
                <xsd:element ref="ns2:lcf76f155ced4ddcb4097134ff3c332f" minOccurs="0"/>
                <xsd:element ref="ns3:TaxCatchAll" minOccurs="0"/>
                <xsd:element ref="ns2:Kommenta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2f31348-0739-4467-8087-a9e650b26e6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6e7bc199-5fe5-462f-a3d8-26f806c1f49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Kommentar" ma:index="24" nillable="true" ma:displayName="Kommentar" ma:format="Dropdown" ma:internalName="Kommentar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015d52-1a8c-45a9-b108-712092158594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2b9d8c2a-daee-47eb-bde9-bb910d7de7ac}" ma:internalName="TaxCatchAll" ma:showField="CatchAllData" ma:web="5a015d52-1a8c-45a9-b108-71209215859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5.xml><?xml version="1.0" encoding="utf-8"?>
<TemplafySlideFormConfiguration><![CDATA[{"formFields":[],"formDataEntries":[]}]]></TemplafySlideFormConfiguration>
</file>

<file path=customXml/item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92f31348-0739-4467-8087-a9e650b26e61">
      <Terms xmlns="http://schemas.microsoft.com/office/infopath/2007/PartnerControls"/>
    </lcf76f155ced4ddcb4097134ff3c332f>
    <Kommentar xmlns="92f31348-0739-4467-8087-a9e650b26e61" xsi:nil="true"/>
    <TaxCatchAll xmlns="5a015d52-1a8c-45a9-b108-712092158594" xsi:nil="true"/>
  </documentManagement>
</p:properties>
</file>

<file path=customXml/itemProps1.xml><?xml version="1.0" encoding="utf-8"?>
<ds:datastoreItem xmlns:ds="http://schemas.openxmlformats.org/officeDocument/2006/customXml" ds:itemID="{9DC76CE3-B835-446A-A520-10DB5B6EF169}">
  <ds:schemaRefs/>
</ds:datastoreItem>
</file>

<file path=customXml/itemProps2.xml><?xml version="1.0" encoding="utf-8"?>
<ds:datastoreItem xmlns:ds="http://schemas.openxmlformats.org/officeDocument/2006/customXml" ds:itemID="{D13B9220-694F-4FA8-9552-2F59D8596BC2}">
  <ds:schemaRefs/>
</ds:datastoreItem>
</file>

<file path=customXml/itemProps3.xml><?xml version="1.0" encoding="utf-8"?>
<ds:datastoreItem xmlns:ds="http://schemas.openxmlformats.org/officeDocument/2006/customXml" ds:itemID="{B9CE0B93-D6CB-469D-A0AA-3C983EA3ED05}">
  <ds:schemaRefs/>
</ds:datastoreItem>
</file>

<file path=customXml/itemProps4.xml><?xml version="1.0" encoding="utf-8"?>
<ds:datastoreItem xmlns:ds="http://schemas.openxmlformats.org/officeDocument/2006/customXml" ds:itemID="{10F7F9CD-48EC-495E-8331-35A94440FF7E}">
  <ds:schemaRefs>
    <ds:schemaRef ds:uri="5a015d52-1a8c-45a9-b108-712092158594"/>
    <ds:schemaRef ds:uri="92f31348-0739-4467-8087-a9e650b26e6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5.xml><?xml version="1.0" encoding="utf-8"?>
<ds:datastoreItem xmlns:ds="http://schemas.openxmlformats.org/officeDocument/2006/customXml" ds:itemID="{387519D4-11B9-441D-B88A-840D71859FC6}">
  <ds:schemaRefs/>
</ds:datastoreItem>
</file>

<file path=customXml/itemProps6.xml><?xml version="1.0" encoding="utf-8"?>
<ds:datastoreItem xmlns:ds="http://schemas.openxmlformats.org/officeDocument/2006/customXml" ds:itemID="{729DADC4-E941-4143-BEF5-04732A0465DF}">
  <ds:schemaRefs>
    <ds:schemaRef ds:uri="http://schemas.microsoft.com/sharepoint/v3/contenttype/forms"/>
  </ds:schemaRefs>
</ds:datastoreItem>
</file>

<file path=customXml/itemProps7.xml><?xml version="1.0" encoding="utf-8"?>
<ds:datastoreItem xmlns:ds="http://schemas.openxmlformats.org/officeDocument/2006/customXml" ds:itemID="{74342386-CCEB-4B03-80C6-C64950812FD5}">
  <ds:schemaRefs>
    <ds:schemaRef ds:uri="http://purl.org/dc/elements/1.1/"/>
    <ds:schemaRef ds:uri="http://schemas.microsoft.com/office/2006/metadata/properties"/>
    <ds:schemaRef ds:uri="92f31348-0739-4467-8087-a9e650b26e61"/>
    <ds:schemaRef ds:uri="http://purl.org/dc/terms/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5a015d52-1a8c-45a9-b108-712092158594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989</Words>
  <Application>Microsoft Office PowerPoint</Application>
  <PresentationFormat>On-screen Show (16:9)</PresentationFormat>
  <Paragraphs>626</Paragraphs>
  <Slides>44</Slides>
  <Notes>3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4</vt:i4>
      </vt:variant>
    </vt:vector>
  </HeadingPairs>
  <TitlesOfParts>
    <vt:vector size="55" baseType="lpstr">
      <vt:lpstr>Arial</vt:lpstr>
      <vt:lpstr>Calibri</vt:lpstr>
      <vt:lpstr>Lato Extended</vt:lpstr>
      <vt:lpstr>myriad-pro</vt:lpstr>
      <vt:lpstr>Open Sans</vt:lpstr>
      <vt:lpstr>Office-tema</vt:lpstr>
      <vt:lpstr>4_Office-tema</vt:lpstr>
      <vt:lpstr>1_Office-tema</vt:lpstr>
      <vt:lpstr>2_Office-tema</vt:lpstr>
      <vt:lpstr>3_Office-tema</vt:lpstr>
      <vt:lpstr>think-cell Slide</vt:lpstr>
      <vt:lpstr>NTNU Kurs 2 - Behov til betaling Fagrekvirent</vt:lpstr>
      <vt:lpstr>PowerPoint Presentation</vt:lpstr>
      <vt:lpstr>Agenda</vt:lpstr>
      <vt:lpstr>Læringsmål</vt:lpstr>
      <vt:lpstr>Intro til Btb-prosessen: Prosessflyt - Opprettelse av innkjøpeforespørsel og varemottak</vt:lpstr>
      <vt:lpstr>PowerPoint Presentation</vt:lpstr>
      <vt:lpstr>Samhandling med andre roller</vt:lpstr>
      <vt:lpstr>Agenda</vt:lpstr>
      <vt:lpstr>Hovedforskjeller: Registrere innkjøpsforespørsel</vt:lpstr>
      <vt:lpstr>Hovedforskjeller: Utføre vare-/tjenestemottak </vt:lpstr>
      <vt:lpstr>Agenda</vt:lpstr>
      <vt:lpstr>PowerPoint Presentation</vt:lpstr>
      <vt:lpstr>Læringsmål</vt:lpstr>
      <vt:lpstr>Endringer sammenlignet med dagens økonomimodell</vt:lpstr>
      <vt:lpstr>Konteringsstrengen</vt:lpstr>
      <vt:lpstr>Kontering konto</vt:lpstr>
      <vt:lpstr>Kontering koststed</vt:lpstr>
      <vt:lpstr>Kontering delprosjekt</vt:lpstr>
      <vt:lpstr>Kontobruk</vt:lpstr>
      <vt:lpstr>Agenda</vt:lpstr>
      <vt:lpstr> Registrering av mva på innkjøpsforespørsel</vt:lpstr>
      <vt:lpstr>Registrering av mva kode</vt:lpstr>
      <vt:lpstr>Mva - koder i Unit4</vt:lpstr>
      <vt:lpstr>Beslutnings-tre kjøp i Norge</vt:lpstr>
      <vt:lpstr>Eksempel på mva-koder til norske leverandører</vt:lpstr>
      <vt:lpstr>Mva - koder i Unit4 </vt:lpstr>
      <vt:lpstr>Mva - koder i Unit4</vt:lpstr>
      <vt:lpstr>Beslutningstre kjøp fra utlandet</vt:lpstr>
      <vt:lpstr>Eksempel på mva-koder til utenlandske leverandører </vt:lpstr>
      <vt:lpstr>Agenda</vt:lpstr>
      <vt:lpstr>PowerPoint Presentation</vt:lpstr>
      <vt:lpstr>PowerPoint Presentation</vt:lpstr>
      <vt:lpstr>Agenda</vt:lpstr>
      <vt:lpstr>Registrere innkjøpsforespørsel - Demo</vt:lpstr>
      <vt:lpstr>Gjøre vare- / tjenestemottak - Video</vt:lpstr>
      <vt:lpstr>Agenda</vt:lpstr>
      <vt:lpstr>Videre opplæring – fagrekvirent </vt:lpstr>
      <vt:lpstr>Viktig</vt:lpstr>
      <vt:lpstr>Agenda</vt:lpstr>
      <vt:lpstr>Kontaktpunkt - opplæring</vt:lpstr>
      <vt:lpstr>Hvor kan du finne mer informasjon</vt:lpstr>
      <vt:lpstr>Kontaktpersoner Btb </vt:lpstr>
      <vt:lpstr>Spørsmål og svar</vt:lpstr>
      <vt:lpstr>Takk for møtet  og  velkommen neste gang </vt:lpstr>
    </vt:vector>
  </TitlesOfParts>
  <Company>NTNU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sjon</dc:title>
  <dc:creator>Kolbjørn Skarpnes</dc:creator>
  <cp:lastModifiedBy>Ingvild Oxaas Wie</cp:lastModifiedBy>
  <cp:revision>2</cp:revision>
  <dcterms:created xsi:type="dcterms:W3CDTF">2013-06-10T16:56:09Z</dcterms:created>
  <dcterms:modified xsi:type="dcterms:W3CDTF">2022-11-21T13:06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DD5007D4960C04FABF7CEA7C1807523</vt:lpwstr>
  </property>
  <property fmtid="{D5CDD505-2E9C-101B-9397-08002B2CF9AE}" pid="3" name="MSIP_Label_ea60d57e-af5b-4752-ac57-3e4f28ca11dc_SiteId">
    <vt:lpwstr>36da45f1-dd2c-4d1f-af13-5abe46b99921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Enabled">
    <vt:lpwstr>true</vt:lpwstr>
  </property>
  <property fmtid="{D5CDD505-2E9C-101B-9397-08002B2CF9AE}" pid="6" name="MSIP_Label_ea60d57e-af5b-4752-ac57-3e4f28ca11dc_Name">
    <vt:lpwstr>ea60d57e-af5b-4752-ac57-3e4f28ca11dc</vt:lpwstr>
  </property>
  <property fmtid="{D5CDD505-2E9C-101B-9397-08002B2CF9AE}" pid="7" name="MSIP_Label_ea60d57e-af5b-4752-ac57-3e4f28ca11dc_SetDate">
    <vt:lpwstr>2022-01-14T09:32:21Z</vt:lpwstr>
  </property>
  <property fmtid="{D5CDD505-2E9C-101B-9397-08002B2CF9AE}" pid="8" name="MSIP_Label_ea60d57e-af5b-4752-ac57-3e4f28ca11dc_ContentBits">
    <vt:lpwstr>0</vt:lpwstr>
  </property>
  <property fmtid="{D5CDD505-2E9C-101B-9397-08002B2CF9AE}" pid="9" name="MSIP_Label_ea60d57e-af5b-4752-ac57-3e4f28ca11dc_ActionId">
    <vt:lpwstr>4347e919-3a21-4c8e-80f7-010369338443</vt:lpwstr>
  </property>
  <property fmtid="{D5CDD505-2E9C-101B-9397-08002B2CF9AE}" pid="10" name="MediaServiceImageTags">
    <vt:lpwstr/>
  </property>
</Properties>
</file>